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56" r:id="rId2"/>
  </p:sldMasterIdLst>
  <p:notesMasterIdLst>
    <p:notesMasterId r:id="rId62"/>
  </p:notesMasterIdLst>
  <p:sldIdLst>
    <p:sldId id="280" r:id="rId3"/>
    <p:sldId id="966" r:id="rId4"/>
    <p:sldId id="283" r:id="rId5"/>
    <p:sldId id="918" r:id="rId6"/>
    <p:sldId id="968" r:id="rId7"/>
    <p:sldId id="849" r:id="rId8"/>
    <p:sldId id="922" r:id="rId9"/>
    <p:sldId id="967" r:id="rId10"/>
    <p:sldId id="923" r:id="rId11"/>
    <p:sldId id="924" r:id="rId12"/>
    <p:sldId id="919" r:id="rId13"/>
    <p:sldId id="874" r:id="rId14"/>
    <p:sldId id="878" r:id="rId15"/>
    <p:sldId id="880" r:id="rId16"/>
    <p:sldId id="737" r:id="rId17"/>
    <p:sldId id="858" r:id="rId18"/>
    <p:sldId id="928" r:id="rId19"/>
    <p:sldId id="960" r:id="rId20"/>
    <p:sldId id="961" r:id="rId21"/>
    <p:sldId id="738" r:id="rId22"/>
    <p:sldId id="957" r:id="rId23"/>
    <p:sldId id="577" r:id="rId24"/>
    <p:sldId id="898" r:id="rId25"/>
    <p:sldId id="914" r:id="rId26"/>
    <p:sldId id="893" r:id="rId27"/>
    <p:sldId id="958" r:id="rId28"/>
    <p:sldId id="959" r:id="rId29"/>
    <p:sldId id="896" r:id="rId30"/>
    <p:sldId id="944" r:id="rId31"/>
    <p:sldId id="933" r:id="rId32"/>
    <p:sldId id="935" r:id="rId33"/>
    <p:sldId id="932" r:id="rId34"/>
    <p:sldId id="936" r:id="rId35"/>
    <p:sldId id="929" r:id="rId36"/>
    <p:sldId id="890" r:id="rId37"/>
    <p:sldId id="950" r:id="rId38"/>
    <p:sldId id="894" r:id="rId39"/>
    <p:sldId id="937" r:id="rId40"/>
    <p:sldId id="934" r:id="rId41"/>
    <p:sldId id="942" r:id="rId42"/>
    <p:sldId id="965" r:id="rId43"/>
    <p:sldId id="903" r:id="rId44"/>
    <p:sldId id="938" r:id="rId45"/>
    <p:sldId id="962" r:id="rId46"/>
    <p:sldId id="925" r:id="rId47"/>
    <p:sldId id="821" r:id="rId48"/>
    <p:sldId id="946" r:id="rId49"/>
    <p:sldId id="949" r:id="rId50"/>
    <p:sldId id="953" r:id="rId51"/>
    <p:sldId id="954" r:id="rId52"/>
    <p:sldId id="956" r:id="rId53"/>
    <p:sldId id="952" r:id="rId54"/>
    <p:sldId id="955" r:id="rId55"/>
    <p:sldId id="943" r:id="rId56"/>
    <p:sldId id="848" r:id="rId57"/>
    <p:sldId id="832" r:id="rId58"/>
    <p:sldId id="833" r:id="rId59"/>
    <p:sldId id="845" r:id="rId60"/>
    <p:sldId id="852" r:id="rId6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FBE01E-7B92-B9C0-0995-5C3FE74E91A1}" name="Alana Rivera" initials="AR" userId="S::arg3669@ads.northwestern.edu::fc8b707a-b7e9-4f2a-8d71-2d76819b7881" providerId="AD"/>
  <p188:author id="{B1E8E1CE-C373-4BDB-0D3F-F84FE1DA86D4}" name="Eileen Fleming Suse" initials="ES" userId="S::efs3844@ads.northwestern.edu::725c94ef-d051-42d7-9d33-8572765d592b" providerId="AD"/>
  <p188:author id="{1BCA7BFC-F11C-3E9E-95B3-FA7A4B2C0B61}" name="Kiela Karina Moreno" initials="KM" userId="S::mpg7143@ads.northwestern.edu::1e897b35-0dd4-497a-9ab7-7a37e6c39d5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498B"/>
    <a:srgbClr val="F5668F"/>
    <a:srgbClr val="DDEEF8"/>
    <a:srgbClr val="F2E1E1"/>
    <a:srgbClr val="315D8A"/>
    <a:srgbClr val="F5E8DF"/>
    <a:srgbClr val="EB7CBB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CE71F2-FB93-47B4-F319-CD14916AD06C}" v="103" dt="2024-04-15T12:38:39.955"/>
    <p1510:client id="{EB60AD15-290C-4371-AD10-6E95E1BCA55B}" v="44" dt="2024-04-15T12:47:38.9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54240"/>
  </p:normalViewPr>
  <p:slideViewPr>
    <p:cSldViewPr snapToGrid="0">
      <p:cViewPr varScale="1">
        <p:scale>
          <a:sx n="55" d="100"/>
          <a:sy n="55" d="100"/>
        </p:scale>
        <p:origin x="2760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presProps" Target="presProps.xml"/><Relationship Id="rId68" Type="http://schemas.microsoft.com/office/2018/10/relationships/authors" Target="author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tableStyles" Target="tableStyles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viewProps" Target="view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microsoft.com/office/2015/10/relationships/revisionInfo" Target="revisionInfo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svg"/><Relationship Id="rId3" Type="http://schemas.openxmlformats.org/officeDocument/2006/relationships/image" Target="../media/image94.png"/><Relationship Id="rId7" Type="http://schemas.openxmlformats.org/officeDocument/2006/relationships/image" Target="../media/image98.png"/><Relationship Id="rId2" Type="http://schemas.openxmlformats.org/officeDocument/2006/relationships/image" Target="../media/image93.svg"/><Relationship Id="rId1" Type="http://schemas.openxmlformats.org/officeDocument/2006/relationships/image" Target="../media/image92.png"/><Relationship Id="rId6" Type="http://schemas.openxmlformats.org/officeDocument/2006/relationships/image" Target="../media/image97.svg"/><Relationship Id="rId5" Type="http://schemas.openxmlformats.org/officeDocument/2006/relationships/image" Target="../media/image96.png"/><Relationship Id="rId10" Type="http://schemas.openxmlformats.org/officeDocument/2006/relationships/image" Target="../media/image101.svg"/><Relationship Id="rId4" Type="http://schemas.openxmlformats.org/officeDocument/2006/relationships/image" Target="../media/image95.svg"/><Relationship Id="rId9" Type="http://schemas.openxmlformats.org/officeDocument/2006/relationships/image" Target="../media/image100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svg"/><Relationship Id="rId3" Type="http://schemas.openxmlformats.org/officeDocument/2006/relationships/image" Target="../media/image94.png"/><Relationship Id="rId7" Type="http://schemas.openxmlformats.org/officeDocument/2006/relationships/image" Target="../media/image98.png"/><Relationship Id="rId2" Type="http://schemas.openxmlformats.org/officeDocument/2006/relationships/image" Target="../media/image93.svg"/><Relationship Id="rId1" Type="http://schemas.openxmlformats.org/officeDocument/2006/relationships/image" Target="../media/image92.png"/><Relationship Id="rId6" Type="http://schemas.openxmlformats.org/officeDocument/2006/relationships/image" Target="../media/image97.svg"/><Relationship Id="rId5" Type="http://schemas.openxmlformats.org/officeDocument/2006/relationships/image" Target="../media/image96.png"/><Relationship Id="rId10" Type="http://schemas.openxmlformats.org/officeDocument/2006/relationships/image" Target="../media/image101.svg"/><Relationship Id="rId4" Type="http://schemas.openxmlformats.org/officeDocument/2006/relationships/image" Target="../media/image95.svg"/><Relationship Id="rId9" Type="http://schemas.openxmlformats.org/officeDocument/2006/relationships/image" Target="../media/image100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2B2B0B-E1EB-413E-9DDA-E947D59F25D8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E1C93713-C3EB-49CB-91FC-6AE222C01E06}">
      <dgm:prSet/>
      <dgm:spPr/>
      <dgm:t>
        <a:bodyPr/>
        <a:lstStyle/>
        <a:p>
          <a:pPr rtl="0"/>
          <a:r>
            <a:rPr lang="en-US" b="0" i="0"/>
            <a:t>Roster</a:t>
          </a:r>
          <a:r>
            <a:rPr lang="en-US">
              <a:latin typeface="Calibri" panose="020F0502020204030204"/>
            </a:rPr>
            <a:t> completed</a:t>
          </a:r>
          <a:endParaRPr lang="en-US"/>
        </a:p>
      </dgm:t>
    </dgm:pt>
    <dgm:pt modelId="{017DDF6E-A81F-4ED1-9A22-704725CF3315}" type="parTrans" cxnId="{417E77D2-2844-4756-B3DC-2328CC82AE64}">
      <dgm:prSet/>
      <dgm:spPr/>
      <dgm:t>
        <a:bodyPr/>
        <a:lstStyle/>
        <a:p>
          <a:endParaRPr lang="en-US"/>
        </a:p>
      </dgm:t>
    </dgm:pt>
    <dgm:pt modelId="{681B1666-B7DC-46FF-865C-E7E4408A3128}" type="sibTrans" cxnId="{417E77D2-2844-4756-B3DC-2328CC82AE64}">
      <dgm:prSet/>
      <dgm:spPr/>
      <dgm:t>
        <a:bodyPr/>
        <a:lstStyle/>
        <a:p>
          <a:endParaRPr lang="en-US"/>
        </a:p>
      </dgm:t>
    </dgm:pt>
    <dgm:pt modelId="{22A9C8C7-F5B2-47F8-9266-7D3C5B78203D}">
      <dgm:prSet/>
      <dgm:spPr/>
      <dgm:t>
        <a:bodyPr/>
        <a:lstStyle/>
        <a:p>
          <a:pPr rtl="0"/>
          <a:r>
            <a:rPr lang="en-US" b="0" i="0"/>
            <a:t>Readiness survey</a:t>
          </a:r>
          <a:r>
            <a:rPr lang="en-US">
              <a:latin typeface="Calibri" panose="020F0502020204030204"/>
            </a:rPr>
            <a:t> submitted</a:t>
          </a:r>
          <a:endParaRPr lang="en-US"/>
        </a:p>
      </dgm:t>
    </dgm:pt>
    <dgm:pt modelId="{B101DCC5-9DFD-4A6B-BA5C-685F2C04701A}" type="parTrans" cxnId="{E331CCFB-8655-40AB-A8B0-C2D8CAF50BB7}">
      <dgm:prSet/>
      <dgm:spPr/>
      <dgm:t>
        <a:bodyPr/>
        <a:lstStyle/>
        <a:p>
          <a:endParaRPr lang="en-US"/>
        </a:p>
      </dgm:t>
    </dgm:pt>
    <dgm:pt modelId="{8DD8678B-BA49-4419-9EBE-3976039D4D32}" type="sibTrans" cxnId="{E331CCFB-8655-40AB-A8B0-C2D8CAF50BB7}">
      <dgm:prSet/>
      <dgm:spPr/>
      <dgm:t>
        <a:bodyPr/>
        <a:lstStyle/>
        <a:p>
          <a:endParaRPr lang="en-US"/>
        </a:p>
      </dgm:t>
    </dgm:pt>
    <dgm:pt modelId="{ABEF426E-B491-40FF-AC15-A987673D5657}">
      <dgm:prSet/>
      <dgm:spPr/>
      <dgm:t>
        <a:bodyPr/>
        <a:lstStyle/>
        <a:p>
          <a:pPr rtl="0"/>
          <a:r>
            <a:rPr lang="en-US" b="0" i="0"/>
            <a:t>Data submission Baseline-March</a:t>
          </a:r>
          <a:r>
            <a:rPr lang="en-US">
              <a:latin typeface="Aptos Display" panose="020F0302020204030204"/>
            </a:rPr>
            <a:t> 2024</a:t>
          </a:r>
          <a:endParaRPr lang="en-US"/>
        </a:p>
      </dgm:t>
    </dgm:pt>
    <dgm:pt modelId="{030946D5-5CF2-4290-A76A-0674D8E41067}" type="parTrans" cxnId="{66D3E18C-0B0C-4B1C-B1EF-E623E12AA24C}">
      <dgm:prSet/>
      <dgm:spPr/>
      <dgm:t>
        <a:bodyPr/>
        <a:lstStyle/>
        <a:p>
          <a:endParaRPr lang="en-US"/>
        </a:p>
      </dgm:t>
    </dgm:pt>
    <dgm:pt modelId="{FD32A3B9-A8D0-4359-AAD4-1E7566649D87}" type="sibTrans" cxnId="{66D3E18C-0B0C-4B1C-B1EF-E623E12AA24C}">
      <dgm:prSet/>
      <dgm:spPr/>
      <dgm:t>
        <a:bodyPr/>
        <a:lstStyle/>
        <a:p>
          <a:endParaRPr lang="en-US"/>
        </a:p>
      </dgm:t>
    </dgm:pt>
    <dgm:pt modelId="{CCB8D15D-723C-4981-B18C-F1466BE1AAB4}">
      <dgm:prSet/>
      <dgm:spPr/>
      <dgm:t>
        <a:bodyPr/>
        <a:lstStyle/>
        <a:p>
          <a:r>
            <a:rPr lang="en-US" b="0" i="0"/>
            <a:t>Regular webinar attendance</a:t>
          </a:r>
          <a:endParaRPr lang="en-US"/>
        </a:p>
      </dgm:t>
    </dgm:pt>
    <dgm:pt modelId="{65CA7CE1-41FE-4B30-966E-96DEDA3457DA}" type="parTrans" cxnId="{1FD0491C-29F0-46D5-BCB6-432F58E9D832}">
      <dgm:prSet/>
      <dgm:spPr/>
      <dgm:t>
        <a:bodyPr/>
        <a:lstStyle/>
        <a:p>
          <a:endParaRPr lang="en-US"/>
        </a:p>
      </dgm:t>
    </dgm:pt>
    <dgm:pt modelId="{DE020A91-7E26-42CF-BA54-F258A6F62FA1}" type="sibTrans" cxnId="{1FD0491C-29F0-46D5-BCB6-432F58E9D832}">
      <dgm:prSet/>
      <dgm:spPr/>
      <dgm:t>
        <a:bodyPr/>
        <a:lstStyle/>
        <a:p>
          <a:endParaRPr lang="en-US"/>
        </a:p>
      </dgm:t>
    </dgm:pt>
    <dgm:pt modelId="{C9BE8925-93DB-4A77-A7B5-D77AAF1F7F8F}">
      <dgm:prSet/>
      <dgm:spPr/>
      <dgm:t>
        <a:bodyPr/>
        <a:lstStyle/>
        <a:p>
          <a:r>
            <a:rPr lang="en-US" b="0" i="0"/>
            <a:t>At least 1 ESSI team member registered and attended PQI Training </a:t>
          </a:r>
          <a:endParaRPr lang="en-US"/>
        </a:p>
      </dgm:t>
    </dgm:pt>
    <dgm:pt modelId="{C719A9D3-2F1E-42D8-BCE8-ACFAB380378B}" type="parTrans" cxnId="{B415BE9B-358B-4A65-B0BB-543CB2D0E032}">
      <dgm:prSet/>
      <dgm:spPr/>
      <dgm:t>
        <a:bodyPr/>
        <a:lstStyle/>
        <a:p>
          <a:endParaRPr lang="en-US"/>
        </a:p>
      </dgm:t>
    </dgm:pt>
    <dgm:pt modelId="{019C1C66-502C-4B34-9CFE-5A235A780816}" type="sibTrans" cxnId="{B415BE9B-358B-4A65-B0BB-543CB2D0E032}">
      <dgm:prSet/>
      <dgm:spPr/>
      <dgm:t>
        <a:bodyPr/>
        <a:lstStyle/>
        <a:p>
          <a:endParaRPr lang="en-US"/>
        </a:p>
      </dgm:t>
    </dgm:pt>
    <dgm:pt modelId="{9CC28595-DE9C-4D9D-A4A9-237FAAB25E9F}" type="pres">
      <dgm:prSet presAssocID="{092B2B0B-E1EB-413E-9DDA-E947D59F25D8}" presName="root" presStyleCnt="0">
        <dgm:presLayoutVars>
          <dgm:dir/>
          <dgm:resizeHandles val="exact"/>
        </dgm:presLayoutVars>
      </dgm:prSet>
      <dgm:spPr/>
    </dgm:pt>
    <dgm:pt modelId="{06304710-C377-43C6-8E6B-236B8C9860A1}" type="pres">
      <dgm:prSet presAssocID="{E1C93713-C3EB-49CB-91FC-6AE222C01E06}" presName="compNode" presStyleCnt="0"/>
      <dgm:spPr/>
    </dgm:pt>
    <dgm:pt modelId="{93202B0C-73E3-4FE0-AE31-9D4E51D7D38F}" type="pres">
      <dgm:prSet presAssocID="{E1C93713-C3EB-49CB-91FC-6AE222C01E06}" presName="bgRect" presStyleLbl="bgShp" presStyleIdx="0" presStyleCnt="5"/>
      <dgm:spPr/>
    </dgm:pt>
    <dgm:pt modelId="{77F77850-9AEC-4F25-AA31-E89395EE4FF0}" type="pres">
      <dgm:prSet presAssocID="{E1C93713-C3EB-49CB-91FC-6AE222C01E06}" presName="iconRect" presStyleLbl="node1" presStyleIdx="0" presStyleCnt="5"/>
      <dgm:spPr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"/>
        </a:ext>
      </dgm:extLst>
    </dgm:pt>
    <dgm:pt modelId="{4986EA0F-85C0-4BF9-AB83-958EC624E790}" type="pres">
      <dgm:prSet presAssocID="{E1C93713-C3EB-49CB-91FC-6AE222C01E06}" presName="spaceRect" presStyleCnt="0"/>
      <dgm:spPr/>
    </dgm:pt>
    <dgm:pt modelId="{0CAE225C-FE04-4CE9-A9A3-60CAC3219064}" type="pres">
      <dgm:prSet presAssocID="{E1C93713-C3EB-49CB-91FC-6AE222C01E06}" presName="parTx" presStyleLbl="revTx" presStyleIdx="0" presStyleCnt="5">
        <dgm:presLayoutVars>
          <dgm:chMax val="0"/>
          <dgm:chPref val="0"/>
        </dgm:presLayoutVars>
      </dgm:prSet>
      <dgm:spPr/>
    </dgm:pt>
    <dgm:pt modelId="{579B1BF8-459F-4645-BFA4-A14708C9DD28}" type="pres">
      <dgm:prSet presAssocID="{681B1666-B7DC-46FF-865C-E7E4408A3128}" presName="sibTrans" presStyleCnt="0"/>
      <dgm:spPr/>
    </dgm:pt>
    <dgm:pt modelId="{BADE3A05-048E-4B3E-AE6E-AF82914AC5FE}" type="pres">
      <dgm:prSet presAssocID="{22A9C8C7-F5B2-47F8-9266-7D3C5B78203D}" presName="compNode" presStyleCnt="0"/>
      <dgm:spPr/>
    </dgm:pt>
    <dgm:pt modelId="{B9A615F9-4B41-4A9E-B2E1-37E1E8A3C4E0}" type="pres">
      <dgm:prSet presAssocID="{22A9C8C7-F5B2-47F8-9266-7D3C5B78203D}" presName="bgRect" presStyleLbl="bgShp" presStyleIdx="1" presStyleCnt="5"/>
      <dgm:spPr/>
    </dgm:pt>
    <dgm:pt modelId="{4ABF02F5-C0DC-4756-9F1A-E5A4EAD919C2}" type="pres">
      <dgm:prSet presAssocID="{22A9C8C7-F5B2-47F8-9266-7D3C5B78203D}" presName="iconRect" presStyleLbl="node1" presStyleIdx="1" presStyleCnt="5"/>
      <dgm:spPr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 List"/>
        </a:ext>
      </dgm:extLst>
    </dgm:pt>
    <dgm:pt modelId="{CC88A1C8-9C03-4BD8-9CC2-E1C354D8688C}" type="pres">
      <dgm:prSet presAssocID="{22A9C8C7-F5B2-47F8-9266-7D3C5B78203D}" presName="spaceRect" presStyleCnt="0"/>
      <dgm:spPr/>
    </dgm:pt>
    <dgm:pt modelId="{D0D8196F-B337-4AF8-AF88-96A24CCD0947}" type="pres">
      <dgm:prSet presAssocID="{22A9C8C7-F5B2-47F8-9266-7D3C5B78203D}" presName="parTx" presStyleLbl="revTx" presStyleIdx="1" presStyleCnt="5">
        <dgm:presLayoutVars>
          <dgm:chMax val="0"/>
          <dgm:chPref val="0"/>
        </dgm:presLayoutVars>
      </dgm:prSet>
      <dgm:spPr/>
    </dgm:pt>
    <dgm:pt modelId="{072046E2-E012-4B1D-BA88-3C3FFF5D161E}" type="pres">
      <dgm:prSet presAssocID="{8DD8678B-BA49-4419-9EBE-3976039D4D32}" presName="sibTrans" presStyleCnt="0"/>
      <dgm:spPr/>
    </dgm:pt>
    <dgm:pt modelId="{0BF3D3FF-D051-401A-A7E5-E54480F19EC3}" type="pres">
      <dgm:prSet presAssocID="{ABEF426E-B491-40FF-AC15-A987673D5657}" presName="compNode" presStyleCnt="0"/>
      <dgm:spPr/>
    </dgm:pt>
    <dgm:pt modelId="{C835CB1C-8BCF-4E68-BA83-388E026FD4EC}" type="pres">
      <dgm:prSet presAssocID="{ABEF426E-B491-40FF-AC15-A987673D5657}" presName="bgRect" presStyleLbl="bgShp" presStyleIdx="2" presStyleCnt="5"/>
      <dgm:spPr/>
    </dgm:pt>
    <dgm:pt modelId="{C27798A9-D92B-4B89-8A82-E4C56811104B}" type="pres">
      <dgm:prSet presAssocID="{ABEF426E-B491-40FF-AC15-A987673D5657}" presName="iconRect" presStyleLbl="node1" presStyleIdx="2" presStyleCnt="5"/>
      <dgm:spPr>
        <a:blipFill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326636F0-E6BF-4A70-A614-08B676E89955}" type="pres">
      <dgm:prSet presAssocID="{ABEF426E-B491-40FF-AC15-A987673D5657}" presName="spaceRect" presStyleCnt="0"/>
      <dgm:spPr/>
    </dgm:pt>
    <dgm:pt modelId="{17C93FD6-FE78-4E19-8113-215B862E0B3B}" type="pres">
      <dgm:prSet presAssocID="{ABEF426E-B491-40FF-AC15-A987673D5657}" presName="parTx" presStyleLbl="revTx" presStyleIdx="2" presStyleCnt="5">
        <dgm:presLayoutVars>
          <dgm:chMax val="0"/>
          <dgm:chPref val="0"/>
        </dgm:presLayoutVars>
      </dgm:prSet>
      <dgm:spPr/>
    </dgm:pt>
    <dgm:pt modelId="{89ECC8D6-3C42-4372-9545-E1073DDBD09E}" type="pres">
      <dgm:prSet presAssocID="{FD32A3B9-A8D0-4359-AAD4-1E7566649D87}" presName="sibTrans" presStyleCnt="0"/>
      <dgm:spPr/>
    </dgm:pt>
    <dgm:pt modelId="{2C2ADB25-1C59-4816-BAB3-2E4B1D59474A}" type="pres">
      <dgm:prSet presAssocID="{CCB8D15D-723C-4981-B18C-F1466BE1AAB4}" presName="compNode" presStyleCnt="0"/>
      <dgm:spPr/>
    </dgm:pt>
    <dgm:pt modelId="{5337A328-9D44-4FD8-A65D-8843ECCBAEB9}" type="pres">
      <dgm:prSet presAssocID="{CCB8D15D-723C-4981-B18C-F1466BE1AAB4}" presName="bgRect" presStyleLbl="bgShp" presStyleIdx="3" presStyleCnt="5"/>
      <dgm:spPr/>
    </dgm:pt>
    <dgm:pt modelId="{9983B2FA-E8DD-4F67-ABC9-8F64E73C68CB}" type="pres">
      <dgm:prSet presAssocID="{CCB8D15D-723C-4981-B18C-F1466BE1AAB4}" presName="iconRect" presStyleLbl="node1" presStyleIdx="3" presStyleCnt="5"/>
      <dgm:spPr>
        <a:blipFill>
          <a:blip xmlns:r="http://schemas.openxmlformats.org/officeDocument/2006/relationships"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Laptop"/>
        </a:ext>
      </dgm:extLst>
    </dgm:pt>
    <dgm:pt modelId="{9B9AB47E-3CD7-4D80-ADC0-A5B8C980E74B}" type="pres">
      <dgm:prSet presAssocID="{CCB8D15D-723C-4981-B18C-F1466BE1AAB4}" presName="spaceRect" presStyleCnt="0"/>
      <dgm:spPr/>
    </dgm:pt>
    <dgm:pt modelId="{35C2D13B-CA3C-42DE-82A0-173555030FAA}" type="pres">
      <dgm:prSet presAssocID="{CCB8D15D-723C-4981-B18C-F1466BE1AAB4}" presName="parTx" presStyleLbl="revTx" presStyleIdx="3" presStyleCnt="5">
        <dgm:presLayoutVars>
          <dgm:chMax val="0"/>
          <dgm:chPref val="0"/>
        </dgm:presLayoutVars>
      </dgm:prSet>
      <dgm:spPr/>
    </dgm:pt>
    <dgm:pt modelId="{214C0D83-6E0E-4943-B0AF-64564C3E3B1F}" type="pres">
      <dgm:prSet presAssocID="{DE020A91-7E26-42CF-BA54-F258A6F62FA1}" presName="sibTrans" presStyleCnt="0"/>
      <dgm:spPr/>
    </dgm:pt>
    <dgm:pt modelId="{95168195-6A59-44AC-8122-BF816058F3B5}" type="pres">
      <dgm:prSet presAssocID="{C9BE8925-93DB-4A77-A7B5-D77AAF1F7F8F}" presName="compNode" presStyleCnt="0"/>
      <dgm:spPr/>
    </dgm:pt>
    <dgm:pt modelId="{5615F553-8E0E-46E9-AADF-90659E3BED77}" type="pres">
      <dgm:prSet presAssocID="{C9BE8925-93DB-4A77-A7B5-D77AAF1F7F8F}" presName="bgRect" presStyleLbl="bgShp" presStyleIdx="4" presStyleCnt="5"/>
      <dgm:spPr/>
    </dgm:pt>
    <dgm:pt modelId="{988E9CB8-CF0C-4630-B17A-A79A810C1ED3}" type="pres">
      <dgm:prSet presAssocID="{C9BE8925-93DB-4A77-A7B5-D77AAF1F7F8F}" presName="iconRect" presStyleLbl="node1" presStyleIdx="4" presStyleCnt="5"/>
      <dgm:spPr>
        <a:blipFill>
          <a:blip xmlns:r="http://schemas.openxmlformats.org/officeDocument/2006/relationships"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"/>
        </a:ext>
      </dgm:extLst>
    </dgm:pt>
    <dgm:pt modelId="{7873AEB0-5035-448D-A86A-F7B446CA5B10}" type="pres">
      <dgm:prSet presAssocID="{C9BE8925-93DB-4A77-A7B5-D77AAF1F7F8F}" presName="spaceRect" presStyleCnt="0"/>
      <dgm:spPr/>
    </dgm:pt>
    <dgm:pt modelId="{33CD02C7-6B37-4267-AC58-EE3D761DFA40}" type="pres">
      <dgm:prSet presAssocID="{C9BE8925-93DB-4A77-A7B5-D77AAF1F7F8F}" presName="parTx" presStyleLbl="revTx" presStyleIdx="4" presStyleCnt="5">
        <dgm:presLayoutVars>
          <dgm:chMax val="0"/>
          <dgm:chPref val="0"/>
        </dgm:presLayoutVars>
      </dgm:prSet>
      <dgm:spPr/>
    </dgm:pt>
  </dgm:ptLst>
  <dgm:cxnLst>
    <dgm:cxn modelId="{E3682313-AAF8-48B5-9CAE-0EC9DBA8AC38}" type="presOf" srcId="{092B2B0B-E1EB-413E-9DDA-E947D59F25D8}" destId="{9CC28595-DE9C-4D9D-A4A9-237FAAB25E9F}" srcOrd="0" destOrd="0" presId="urn:microsoft.com/office/officeart/2018/2/layout/IconVerticalSolidList"/>
    <dgm:cxn modelId="{1FD0491C-29F0-46D5-BCB6-432F58E9D832}" srcId="{092B2B0B-E1EB-413E-9DDA-E947D59F25D8}" destId="{CCB8D15D-723C-4981-B18C-F1466BE1AAB4}" srcOrd="3" destOrd="0" parTransId="{65CA7CE1-41FE-4B30-966E-96DEDA3457DA}" sibTransId="{DE020A91-7E26-42CF-BA54-F258A6F62FA1}"/>
    <dgm:cxn modelId="{0CC5B961-7A65-4F71-A10E-085849CD1382}" type="presOf" srcId="{22A9C8C7-F5B2-47F8-9266-7D3C5B78203D}" destId="{D0D8196F-B337-4AF8-AF88-96A24CCD0947}" srcOrd="0" destOrd="0" presId="urn:microsoft.com/office/officeart/2018/2/layout/IconVerticalSolidList"/>
    <dgm:cxn modelId="{08283577-9E7F-424F-9F9B-626E2AB1D018}" type="presOf" srcId="{C9BE8925-93DB-4A77-A7B5-D77AAF1F7F8F}" destId="{33CD02C7-6B37-4267-AC58-EE3D761DFA40}" srcOrd="0" destOrd="0" presId="urn:microsoft.com/office/officeart/2018/2/layout/IconVerticalSolidList"/>
    <dgm:cxn modelId="{66D3E18C-0B0C-4B1C-B1EF-E623E12AA24C}" srcId="{092B2B0B-E1EB-413E-9DDA-E947D59F25D8}" destId="{ABEF426E-B491-40FF-AC15-A987673D5657}" srcOrd="2" destOrd="0" parTransId="{030946D5-5CF2-4290-A76A-0674D8E41067}" sibTransId="{FD32A3B9-A8D0-4359-AAD4-1E7566649D87}"/>
    <dgm:cxn modelId="{B415BE9B-358B-4A65-B0BB-543CB2D0E032}" srcId="{092B2B0B-E1EB-413E-9DDA-E947D59F25D8}" destId="{C9BE8925-93DB-4A77-A7B5-D77AAF1F7F8F}" srcOrd="4" destOrd="0" parTransId="{C719A9D3-2F1E-42D8-BCE8-ACFAB380378B}" sibTransId="{019C1C66-502C-4B34-9CFE-5A235A780816}"/>
    <dgm:cxn modelId="{4B88C9A8-A9FD-4844-94CF-A5870E537ACE}" type="presOf" srcId="{E1C93713-C3EB-49CB-91FC-6AE222C01E06}" destId="{0CAE225C-FE04-4CE9-A9A3-60CAC3219064}" srcOrd="0" destOrd="0" presId="urn:microsoft.com/office/officeart/2018/2/layout/IconVerticalSolidList"/>
    <dgm:cxn modelId="{DEFD1AA9-127B-4449-A581-39F72D42AABE}" type="presOf" srcId="{ABEF426E-B491-40FF-AC15-A987673D5657}" destId="{17C93FD6-FE78-4E19-8113-215B862E0B3B}" srcOrd="0" destOrd="0" presId="urn:microsoft.com/office/officeart/2018/2/layout/IconVerticalSolidList"/>
    <dgm:cxn modelId="{417E77D2-2844-4756-B3DC-2328CC82AE64}" srcId="{092B2B0B-E1EB-413E-9DDA-E947D59F25D8}" destId="{E1C93713-C3EB-49CB-91FC-6AE222C01E06}" srcOrd="0" destOrd="0" parTransId="{017DDF6E-A81F-4ED1-9A22-704725CF3315}" sibTransId="{681B1666-B7DC-46FF-865C-E7E4408A3128}"/>
    <dgm:cxn modelId="{68ACB6E8-AC02-4B8C-9035-41F674AA3C1B}" type="presOf" srcId="{CCB8D15D-723C-4981-B18C-F1466BE1AAB4}" destId="{35C2D13B-CA3C-42DE-82A0-173555030FAA}" srcOrd="0" destOrd="0" presId="urn:microsoft.com/office/officeart/2018/2/layout/IconVerticalSolidList"/>
    <dgm:cxn modelId="{E331CCFB-8655-40AB-A8B0-C2D8CAF50BB7}" srcId="{092B2B0B-E1EB-413E-9DDA-E947D59F25D8}" destId="{22A9C8C7-F5B2-47F8-9266-7D3C5B78203D}" srcOrd="1" destOrd="0" parTransId="{B101DCC5-9DFD-4A6B-BA5C-685F2C04701A}" sibTransId="{8DD8678B-BA49-4419-9EBE-3976039D4D32}"/>
    <dgm:cxn modelId="{1E107F34-59DC-4012-AB29-4E4FC985F8AB}" type="presParOf" srcId="{9CC28595-DE9C-4D9D-A4A9-237FAAB25E9F}" destId="{06304710-C377-43C6-8E6B-236B8C9860A1}" srcOrd="0" destOrd="0" presId="urn:microsoft.com/office/officeart/2018/2/layout/IconVerticalSolidList"/>
    <dgm:cxn modelId="{85FEACF7-A376-4C3A-A083-F240CAB11952}" type="presParOf" srcId="{06304710-C377-43C6-8E6B-236B8C9860A1}" destId="{93202B0C-73E3-4FE0-AE31-9D4E51D7D38F}" srcOrd="0" destOrd="0" presId="urn:microsoft.com/office/officeart/2018/2/layout/IconVerticalSolidList"/>
    <dgm:cxn modelId="{16A9B616-8DE4-4D0E-8789-DAE8E9228BDB}" type="presParOf" srcId="{06304710-C377-43C6-8E6B-236B8C9860A1}" destId="{77F77850-9AEC-4F25-AA31-E89395EE4FF0}" srcOrd="1" destOrd="0" presId="urn:microsoft.com/office/officeart/2018/2/layout/IconVerticalSolidList"/>
    <dgm:cxn modelId="{8401C5A2-1726-4D9F-A530-9CA8B275C4D8}" type="presParOf" srcId="{06304710-C377-43C6-8E6B-236B8C9860A1}" destId="{4986EA0F-85C0-4BF9-AB83-958EC624E790}" srcOrd="2" destOrd="0" presId="urn:microsoft.com/office/officeart/2018/2/layout/IconVerticalSolidList"/>
    <dgm:cxn modelId="{D0EDF2C1-8B15-4622-B422-32E414A243EA}" type="presParOf" srcId="{06304710-C377-43C6-8E6B-236B8C9860A1}" destId="{0CAE225C-FE04-4CE9-A9A3-60CAC3219064}" srcOrd="3" destOrd="0" presId="urn:microsoft.com/office/officeart/2018/2/layout/IconVerticalSolidList"/>
    <dgm:cxn modelId="{C0F55A2F-EEB1-4FD5-A41A-0B16AA70AEC8}" type="presParOf" srcId="{9CC28595-DE9C-4D9D-A4A9-237FAAB25E9F}" destId="{579B1BF8-459F-4645-BFA4-A14708C9DD28}" srcOrd="1" destOrd="0" presId="urn:microsoft.com/office/officeart/2018/2/layout/IconVerticalSolidList"/>
    <dgm:cxn modelId="{CEEBBE07-3F05-487E-B529-326983F01D57}" type="presParOf" srcId="{9CC28595-DE9C-4D9D-A4A9-237FAAB25E9F}" destId="{BADE3A05-048E-4B3E-AE6E-AF82914AC5FE}" srcOrd="2" destOrd="0" presId="urn:microsoft.com/office/officeart/2018/2/layout/IconVerticalSolidList"/>
    <dgm:cxn modelId="{E09F4697-5A00-4E1C-9DCE-F3932D6D4C75}" type="presParOf" srcId="{BADE3A05-048E-4B3E-AE6E-AF82914AC5FE}" destId="{B9A615F9-4B41-4A9E-B2E1-37E1E8A3C4E0}" srcOrd="0" destOrd="0" presId="urn:microsoft.com/office/officeart/2018/2/layout/IconVerticalSolidList"/>
    <dgm:cxn modelId="{B06C319E-134B-4A39-9705-E1DDD5DEB78C}" type="presParOf" srcId="{BADE3A05-048E-4B3E-AE6E-AF82914AC5FE}" destId="{4ABF02F5-C0DC-4756-9F1A-E5A4EAD919C2}" srcOrd="1" destOrd="0" presId="urn:microsoft.com/office/officeart/2018/2/layout/IconVerticalSolidList"/>
    <dgm:cxn modelId="{2855CE38-3011-4F98-AD3A-23CF6042EFE1}" type="presParOf" srcId="{BADE3A05-048E-4B3E-AE6E-AF82914AC5FE}" destId="{CC88A1C8-9C03-4BD8-9CC2-E1C354D8688C}" srcOrd="2" destOrd="0" presId="urn:microsoft.com/office/officeart/2018/2/layout/IconVerticalSolidList"/>
    <dgm:cxn modelId="{A1224ED7-EB36-4A3B-8C25-E447F138A0EE}" type="presParOf" srcId="{BADE3A05-048E-4B3E-AE6E-AF82914AC5FE}" destId="{D0D8196F-B337-4AF8-AF88-96A24CCD0947}" srcOrd="3" destOrd="0" presId="urn:microsoft.com/office/officeart/2018/2/layout/IconVerticalSolidList"/>
    <dgm:cxn modelId="{89DC460D-9F77-404B-80F1-30904CBABA4C}" type="presParOf" srcId="{9CC28595-DE9C-4D9D-A4A9-237FAAB25E9F}" destId="{072046E2-E012-4B1D-BA88-3C3FFF5D161E}" srcOrd="3" destOrd="0" presId="urn:microsoft.com/office/officeart/2018/2/layout/IconVerticalSolidList"/>
    <dgm:cxn modelId="{5EFF31E7-F649-46C2-AF8B-3D842A1EC468}" type="presParOf" srcId="{9CC28595-DE9C-4D9D-A4A9-237FAAB25E9F}" destId="{0BF3D3FF-D051-401A-A7E5-E54480F19EC3}" srcOrd="4" destOrd="0" presId="urn:microsoft.com/office/officeart/2018/2/layout/IconVerticalSolidList"/>
    <dgm:cxn modelId="{055AD89D-0AA5-42D4-83F4-DDCC51631FF8}" type="presParOf" srcId="{0BF3D3FF-D051-401A-A7E5-E54480F19EC3}" destId="{C835CB1C-8BCF-4E68-BA83-388E026FD4EC}" srcOrd="0" destOrd="0" presId="urn:microsoft.com/office/officeart/2018/2/layout/IconVerticalSolidList"/>
    <dgm:cxn modelId="{77C9ADB9-D966-4B10-A866-F4A7728D3857}" type="presParOf" srcId="{0BF3D3FF-D051-401A-A7E5-E54480F19EC3}" destId="{C27798A9-D92B-4B89-8A82-E4C56811104B}" srcOrd="1" destOrd="0" presId="urn:microsoft.com/office/officeart/2018/2/layout/IconVerticalSolidList"/>
    <dgm:cxn modelId="{66A4CF1C-2BE5-4CEA-A974-ADD7389D11CA}" type="presParOf" srcId="{0BF3D3FF-D051-401A-A7E5-E54480F19EC3}" destId="{326636F0-E6BF-4A70-A614-08B676E89955}" srcOrd="2" destOrd="0" presId="urn:microsoft.com/office/officeart/2018/2/layout/IconVerticalSolidList"/>
    <dgm:cxn modelId="{508EC50C-42EB-46D1-A24F-C4DFBC59EA03}" type="presParOf" srcId="{0BF3D3FF-D051-401A-A7E5-E54480F19EC3}" destId="{17C93FD6-FE78-4E19-8113-215B862E0B3B}" srcOrd="3" destOrd="0" presId="urn:microsoft.com/office/officeart/2018/2/layout/IconVerticalSolidList"/>
    <dgm:cxn modelId="{52AFDE7F-37E5-41CA-BC78-4E59F3DFE8CC}" type="presParOf" srcId="{9CC28595-DE9C-4D9D-A4A9-237FAAB25E9F}" destId="{89ECC8D6-3C42-4372-9545-E1073DDBD09E}" srcOrd="5" destOrd="0" presId="urn:microsoft.com/office/officeart/2018/2/layout/IconVerticalSolidList"/>
    <dgm:cxn modelId="{0D733A39-00E3-45D7-9E5B-EA7A0C7EAAD5}" type="presParOf" srcId="{9CC28595-DE9C-4D9D-A4A9-237FAAB25E9F}" destId="{2C2ADB25-1C59-4816-BAB3-2E4B1D59474A}" srcOrd="6" destOrd="0" presId="urn:microsoft.com/office/officeart/2018/2/layout/IconVerticalSolidList"/>
    <dgm:cxn modelId="{C903974A-BA35-4C3D-A0C2-FD73D657AA45}" type="presParOf" srcId="{2C2ADB25-1C59-4816-BAB3-2E4B1D59474A}" destId="{5337A328-9D44-4FD8-A65D-8843ECCBAEB9}" srcOrd="0" destOrd="0" presId="urn:microsoft.com/office/officeart/2018/2/layout/IconVerticalSolidList"/>
    <dgm:cxn modelId="{A4A68F70-E816-41C1-9B2A-0C0739850FD3}" type="presParOf" srcId="{2C2ADB25-1C59-4816-BAB3-2E4B1D59474A}" destId="{9983B2FA-E8DD-4F67-ABC9-8F64E73C68CB}" srcOrd="1" destOrd="0" presId="urn:microsoft.com/office/officeart/2018/2/layout/IconVerticalSolidList"/>
    <dgm:cxn modelId="{C35C744C-9955-4508-899C-4560DAE1B6AF}" type="presParOf" srcId="{2C2ADB25-1C59-4816-BAB3-2E4B1D59474A}" destId="{9B9AB47E-3CD7-4D80-ADC0-A5B8C980E74B}" srcOrd="2" destOrd="0" presId="urn:microsoft.com/office/officeart/2018/2/layout/IconVerticalSolidList"/>
    <dgm:cxn modelId="{915469F3-600D-46BC-B6BF-A41D4D9CE1D3}" type="presParOf" srcId="{2C2ADB25-1C59-4816-BAB3-2E4B1D59474A}" destId="{35C2D13B-CA3C-42DE-82A0-173555030FAA}" srcOrd="3" destOrd="0" presId="urn:microsoft.com/office/officeart/2018/2/layout/IconVerticalSolidList"/>
    <dgm:cxn modelId="{259454CE-43A3-4473-8C7A-83D9F346A2B5}" type="presParOf" srcId="{9CC28595-DE9C-4D9D-A4A9-237FAAB25E9F}" destId="{214C0D83-6E0E-4943-B0AF-64564C3E3B1F}" srcOrd="7" destOrd="0" presId="urn:microsoft.com/office/officeart/2018/2/layout/IconVerticalSolidList"/>
    <dgm:cxn modelId="{50FE7203-B986-4D1E-9113-AF9340462F66}" type="presParOf" srcId="{9CC28595-DE9C-4D9D-A4A9-237FAAB25E9F}" destId="{95168195-6A59-44AC-8122-BF816058F3B5}" srcOrd="8" destOrd="0" presId="urn:microsoft.com/office/officeart/2018/2/layout/IconVerticalSolidList"/>
    <dgm:cxn modelId="{0DD3EB9C-161A-4015-9A4D-C46C63ADD1DE}" type="presParOf" srcId="{95168195-6A59-44AC-8122-BF816058F3B5}" destId="{5615F553-8E0E-46E9-AADF-90659E3BED77}" srcOrd="0" destOrd="0" presId="urn:microsoft.com/office/officeart/2018/2/layout/IconVerticalSolidList"/>
    <dgm:cxn modelId="{EC25F975-AFE3-42A4-AC79-A34E4B0BA807}" type="presParOf" srcId="{95168195-6A59-44AC-8122-BF816058F3B5}" destId="{988E9CB8-CF0C-4630-B17A-A79A810C1ED3}" srcOrd="1" destOrd="0" presId="urn:microsoft.com/office/officeart/2018/2/layout/IconVerticalSolidList"/>
    <dgm:cxn modelId="{9EA8675C-3B26-4083-BC48-BA4029B2A6F9}" type="presParOf" srcId="{95168195-6A59-44AC-8122-BF816058F3B5}" destId="{7873AEB0-5035-448D-A86A-F7B446CA5B10}" srcOrd="2" destOrd="0" presId="urn:microsoft.com/office/officeart/2018/2/layout/IconVerticalSolidList"/>
    <dgm:cxn modelId="{BE25714D-04B7-4C10-BEF8-F6509007A412}" type="presParOf" srcId="{95168195-6A59-44AC-8122-BF816058F3B5}" destId="{33CD02C7-6B37-4267-AC58-EE3D761DFA40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C461405-E899-4BDA-847F-F09BF45A07B4}" type="doc">
      <dgm:prSet loTypeId="urn:microsoft.com/office/officeart/2017/3/layout/DropPinTimeline" loCatId="timelin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506C446-71DD-4800-B9EC-2CEA261C85FC}">
      <dgm:prSet phldr="0"/>
      <dgm:spPr/>
      <dgm:t>
        <a:bodyPr/>
        <a:lstStyle/>
        <a:p>
          <a:pPr>
            <a:defRPr b="1"/>
          </a:pPr>
          <a:r>
            <a:rPr lang="en-US">
              <a:latin typeface="DM Sans"/>
            </a:rPr>
            <a:t>Review current safe sleep policy and update policy to reflect 2022 AAP Recommendations. </a:t>
          </a:r>
          <a:endParaRPr lang="en-US"/>
        </a:p>
      </dgm:t>
    </dgm:pt>
    <dgm:pt modelId="{4C2E3476-1054-4346-8AF3-3D194482C959}" type="parTrans" cxnId="{6308D8C5-CE60-477D-B2F1-2368EED27DEE}">
      <dgm:prSet/>
      <dgm:spPr/>
      <dgm:t>
        <a:bodyPr/>
        <a:lstStyle/>
        <a:p>
          <a:endParaRPr lang="en-US"/>
        </a:p>
      </dgm:t>
    </dgm:pt>
    <dgm:pt modelId="{5DC9CBD3-78FA-49E7-A51F-DE4246B3DA63}" type="sibTrans" cxnId="{6308D8C5-CE60-477D-B2F1-2368EED27DEE}">
      <dgm:prSet/>
      <dgm:spPr/>
      <dgm:t>
        <a:bodyPr/>
        <a:lstStyle/>
        <a:p>
          <a:endParaRPr lang="en-US"/>
        </a:p>
      </dgm:t>
    </dgm:pt>
    <dgm:pt modelId="{96C2D5B1-7D7A-44AB-9200-C205C1AB0DB9}">
      <dgm:prSet/>
      <dgm:spPr/>
      <dgm:t>
        <a:bodyPr/>
        <a:lstStyle/>
        <a:p>
          <a:pPr>
            <a:defRPr b="1"/>
          </a:pPr>
          <a:r>
            <a:rPr lang="en-US">
              <a:latin typeface="DM Sans"/>
            </a:rPr>
            <a:t>Disseminate recommendations and educate about safe sleep</a:t>
          </a:r>
        </a:p>
      </dgm:t>
    </dgm:pt>
    <dgm:pt modelId="{FD6D8808-A2D2-412C-A027-21AC214AC556}" type="parTrans" cxnId="{5E14390E-470A-471F-808D-6FB89FB9E32E}">
      <dgm:prSet/>
      <dgm:spPr/>
      <dgm:t>
        <a:bodyPr/>
        <a:lstStyle/>
        <a:p>
          <a:endParaRPr lang="en-US"/>
        </a:p>
      </dgm:t>
    </dgm:pt>
    <dgm:pt modelId="{F80A90AF-3AB4-4B6F-92D4-B1DADA57C58A}" type="sibTrans" cxnId="{5E14390E-470A-471F-808D-6FB89FB9E32E}">
      <dgm:prSet/>
      <dgm:spPr/>
      <dgm:t>
        <a:bodyPr/>
        <a:lstStyle/>
        <a:p>
          <a:endParaRPr lang="en-US"/>
        </a:p>
      </dgm:t>
    </dgm:pt>
    <dgm:pt modelId="{923BC028-6505-47D1-AFE4-C130C7AC844D}">
      <dgm:prSet phldr="0"/>
      <dgm:spPr/>
      <dgm:t>
        <a:bodyPr/>
        <a:lstStyle/>
        <a:p>
          <a:pPr>
            <a:defRPr b="1"/>
          </a:pPr>
          <a:r>
            <a:rPr lang="en-US">
              <a:latin typeface="DM Sans"/>
            </a:rPr>
            <a:t>Endorse and model safe sleep practices and incorporate safe sleep education into orientation, annual competencies and ongoing education.</a:t>
          </a:r>
          <a:endParaRPr lang="en-US"/>
        </a:p>
      </dgm:t>
    </dgm:pt>
    <dgm:pt modelId="{ED1B9114-5022-478A-8D8E-00FF1C8F2BB2}" type="parTrans" cxnId="{B4D6E97D-41AF-4C30-AA82-232F3DE5FB78}">
      <dgm:prSet/>
      <dgm:spPr/>
      <dgm:t>
        <a:bodyPr/>
        <a:lstStyle/>
        <a:p>
          <a:endParaRPr lang="en-US"/>
        </a:p>
      </dgm:t>
    </dgm:pt>
    <dgm:pt modelId="{CE130E62-B72B-48BB-BFDE-009BF38F445A}" type="sibTrans" cxnId="{B4D6E97D-41AF-4C30-AA82-232F3DE5FB78}">
      <dgm:prSet/>
      <dgm:spPr/>
      <dgm:t>
        <a:bodyPr/>
        <a:lstStyle/>
        <a:p>
          <a:endParaRPr lang="en-US"/>
        </a:p>
      </dgm:t>
    </dgm:pt>
    <dgm:pt modelId="{90AF004A-E7F2-4B9A-8C34-3AC32288FE3C}" type="pres">
      <dgm:prSet presAssocID="{9C461405-E899-4BDA-847F-F09BF45A07B4}" presName="root" presStyleCnt="0">
        <dgm:presLayoutVars>
          <dgm:chMax/>
          <dgm:chPref/>
          <dgm:animLvl val="lvl"/>
        </dgm:presLayoutVars>
      </dgm:prSet>
      <dgm:spPr/>
    </dgm:pt>
    <dgm:pt modelId="{79E4F431-2D5E-450E-8E51-09919FA26C47}" type="pres">
      <dgm:prSet presAssocID="{9C461405-E899-4BDA-847F-F09BF45A07B4}" presName="divider" presStyleLbl="fgAcc1" presStyleIdx="0" presStyleCnt="4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gm:spPr>
    </dgm:pt>
    <dgm:pt modelId="{86FDD78A-6D95-40F2-B859-176A25A88F1B}" type="pres">
      <dgm:prSet presAssocID="{9C461405-E899-4BDA-847F-F09BF45A07B4}" presName="nodes" presStyleCnt="0">
        <dgm:presLayoutVars>
          <dgm:chMax/>
          <dgm:chPref/>
          <dgm:animLvl val="lvl"/>
        </dgm:presLayoutVars>
      </dgm:prSet>
      <dgm:spPr/>
    </dgm:pt>
    <dgm:pt modelId="{BE0ABB15-C323-4F6B-8455-042CC92AA1BA}" type="pres">
      <dgm:prSet presAssocID="{C506C446-71DD-4800-B9EC-2CEA261C85FC}" presName="composite" presStyleCnt="0"/>
      <dgm:spPr/>
    </dgm:pt>
    <dgm:pt modelId="{F61F01B2-495B-4E80-B19A-3D5F33285DE5}" type="pres">
      <dgm:prSet presAssocID="{C506C446-71DD-4800-B9EC-2CEA261C85FC}" presName="ConnectorPoint" presStyleLbl="lnNode1" presStyleIdx="0" presStyleCnt="3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FB369683-4C81-4D28-BB52-E6AE5D874656}" type="pres">
      <dgm:prSet presAssocID="{C506C446-71DD-4800-B9EC-2CEA261C85FC}" presName="DropPinPlaceHolder" presStyleCnt="0"/>
      <dgm:spPr/>
    </dgm:pt>
    <dgm:pt modelId="{A0847E7E-6E15-47CE-9D6C-C58B22651211}" type="pres">
      <dgm:prSet presAssocID="{C506C446-71DD-4800-B9EC-2CEA261C85FC}" presName="DropPin" presStyleLbl="alignNode1" presStyleIdx="0" presStyleCnt="3"/>
      <dgm:spPr/>
    </dgm:pt>
    <dgm:pt modelId="{E5BF9E1A-EEF3-4A06-A69D-8D9078F17967}" type="pres">
      <dgm:prSet presAssocID="{C506C446-71DD-4800-B9EC-2CEA261C85FC}" presName="Ellipse" presStyleLbl="fgAcc1" presStyleIdx="1" presStyleCnt="4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C13B4051-0770-4031-9EA5-4C4345355EF0}" type="pres">
      <dgm:prSet presAssocID="{C506C446-71DD-4800-B9EC-2CEA261C85FC}" presName="L2TextContainer" presStyleLbl="revTx" presStyleIdx="0" presStyleCnt="6">
        <dgm:presLayoutVars>
          <dgm:bulletEnabled val="1"/>
        </dgm:presLayoutVars>
      </dgm:prSet>
      <dgm:spPr/>
    </dgm:pt>
    <dgm:pt modelId="{D8B41552-4633-4A07-A10D-33BD6ECA781E}" type="pres">
      <dgm:prSet presAssocID="{C506C446-71DD-4800-B9EC-2CEA261C85FC}" presName="L1TextContainer" presStyleLbl="revTx" presStyleIdx="1" presStyleCnt="6" custLinFactNeighborX="-732" custLinFactNeighborY="78061">
        <dgm:presLayoutVars>
          <dgm:chMax val="1"/>
          <dgm:chPref val="1"/>
          <dgm:bulletEnabled val="1"/>
        </dgm:presLayoutVars>
      </dgm:prSet>
      <dgm:spPr/>
    </dgm:pt>
    <dgm:pt modelId="{6DB38C9C-DDD8-49AF-8A63-6696F37F2744}" type="pres">
      <dgm:prSet presAssocID="{C506C446-71DD-4800-B9EC-2CEA261C85FC}" presName="ConnectLine" presStyleLbl="sibTrans1D1" presStyleIdx="0" presStyleCnt="3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386A31CD-6E4F-4FF4-A30A-23365EC4E6D2}" type="pres">
      <dgm:prSet presAssocID="{C506C446-71DD-4800-B9EC-2CEA261C85FC}" presName="EmptyPlaceHolder" presStyleCnt="0"/>
      <dgm:spPr/>
    </dgm:pt>
    <dgm:pt modelId="{E249277F-FADC-4DF6-85AE-CECA1738078F}" type="pres">
      <dgm:prSet presAssocID="{5DC9CBD3-78FA-49E7-A51F-DE4246B3DA63}" presName="spaceBetweenRectangles" presStyleCnt="0"/>
      <dgm:spPr/>
    </dgm:pt>
    <dgm:pt modelId="{8FF807FA-8C7E-436B-A7F1-A97344FAB5B9}" type="pres">
      <dgm:prSet presAssocID="{96C2D5B1-7D7A-44AB-9200-C205C1AB0DB9}" presName="composite" presStyleCnt="0"/>
      <dgm:spPr/>
    </dgm:pt>
    <dgm:pt modelId="{2F37D170-275F-4014-9B66-B38F55AA3F65}" type="pres">
      <dgm:prSet presAssocID="{96C2D5B1-7D7A-44AB-9200-C205C1AB0DB9}" presName="ConnectorPoint" presStyleLbl="lnNode1" presStyleIdx="1" presStyleCnt="3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71E9BDC5-4ADE-4D25-AC52-9D1BE25D0187}" type="pres">
      <dgm:prSet presAssocID="{96C2D5B1-7D7A-44AB-9200-C205C1AB0DB9}" presName="DropPinPlaceHolder" presStyleCnt="0"/>
      <dgm:spPr/>
    </dgm:pt>
    <dgm:pt modelId="{0AFF2147-3759-4332-A275-FF8507D17E70}" type="pres">
      <dgm:prSet presAssocID="{96C2D5B1-7D7A-44AB-9200-C205C1AB0DB9}" presName="DropPin" presStyleLbl="alignNode1" presStyleIdx="1" presStyleCnt="3"/>
      <dgm:spPr/>
    </dgm:pt>
    <dgm:pt modelId="{BF5C1AD6-9550-4F27-94F4-A80D44EFDF43}" type="pres">
      <dgm:prSet presAssocID="{96C2D5B1-7D7A-44AB-9200-C205C1AB0DB9}" presName="Ellipse" presStyleLbl="fgAcc1" presStyleIdx="2" presStyleCnt="4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4B6D73B5-5A28-4D18-ABD7-5CF35A589C8A}" type="pres">
      <dgm:prSet presAssocID="{96C2D5B1-7D7A-44AB-9200-C205C1AB0DB9}" presName="L2TextContainer" presStyleLbl="revTx" presStyleIdx="2" presStyleCnt="6">
        <dgm:presLayoutVars>
          <dgm:bulletEnabled val="1"/>
        </dgm:presLayoutVars>
      </dgm:prSet>
      <dgm:spPr/>
    </dgm:pt>
    <dgm:pt modelId="{B04E2B90-B641-4359-942D-47D59112DE24}" type="pres">
      <dgm:prSet presAssocID="{96C2D5B1-7D7A-44AB-9200-C205C1AB0DB9}" presName="L1TextContainer" presStyleLbl="revTx" presStyleIdx="3" presStyleCnt="6" custLinFactY="-100000" custLinFactNeighborX="-3468" custLinFactNeighborY="-132205">
        <dgm:presLayoutVars>
          <dgm:chMax val="1"/>
          <dgm:chPref val="1"/>
          <dgm:bulletEnabled val="1"/>
        </dgm:presLayoutVars>
      </dgm:prSet>
      <dgm:spPr/>
    </dgm:pt>
    <dgm:pt modelId="{165656CC-241C-48F6-83A8-0DAB1014E2D6}" type="pres">
      <dgm:prSet presAssocID="{96C2D5B1-7D7A-44AB-9200-C205C1AB0DB9}" presName="ConnectLine" presStyleLbl="sibTrans1D1" presStyleIdx="1" presStyleCnt="3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12DF6020-951E-48AA-AB95-5B89D6AE0E95}" type="pres">
      <dgm:prSet presAssocID="{96C2D5B1-7D7A-44AB-9200-C205C1AB0DB9}" presName="EmptyPlaceHolder" presStyleCnt="0"/>
      <dgm:spPr/>
    </dgm:pt>
    <dgm:pt modelId="{75D7D005-A4BE-4833-A632-CCCB52ED2D1A}" type="pres">
      <dgm:prSet presAssocID="{F80A90AF-3AB4-4B6F-92D4-B1DADA57C58A}" presName="spaceBetweenRectangles" presStyleCnt="0"/>
      <dgm:spPr/>
    </dgm:pt>
    <dgm:pt modelId="{24C7F27D-DC82-4272-B7E1-10F783A0D0CB}" type="pres">
      <dgm:prSet presAssocID="{923BC028-6505-47D1-AFE4-C130C7AC844D}" presName="composite" presStyleCnt="0"/>
      <dgm:spPr/>
    </dgm:pt>
    <dgm:pt modelId="{CDEB2CF1-A372-4E04-BD92-5DA096699F16}" type="pres">
      <dgm:prSet presAssocID="{923BC028-6505-47D1-AFE4-C130C7AC844D}" presName="ConnectorPoint" presStyleLbl="lnNode1" presStyleIdx="2" presStyleCnt="3"/>
      <dgm:spPr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EF147D88-8F82-41F1-9B88-7E6AFD093E8A}" type="pres">
      <dgm:prSet presAssocID="{923BC028-6505-47D1-AFE4-C130C7AC844D}" presName="DropPinPlaceHolder" presStyleCnt="0"/>
      <dgm:spPr/>
    </dgm:pt>
    <dgm:pt modelId="{EA087CE1-46CC-4FB3-B4AD-309234AAFE87}" type="pres">
      <dgm:prSet presAssocID="{923BC028-6505-47D1-AFE4-C130C7AC844D}" presName="DropPin" presStyleLbl="alignNode1" presStyleIdx="2" presStyleCnt="3"/>
      <dgm:spPr/>
    </dgm:pt>
    <dgm:pt modelId="{C09DE9ED-74E6-4839-BD98-A4FBC8C08BD8}" type="pres">
      <dgm:prSet presAssocID="{923BC028-6505-47D1-AFE4-C130C7AC844D}" presName="Ellipse" presStyleLbl="fgAcc1" presStyleIdx="3" presStyleCnt="4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02825D4A-7310-4E45-84A1-B6D6EFA9D41B}" type="pres">
      <dgm:prSet presAssocID="{923BC028-6505-47D1-AFE4-C130C7AC844D}" presName="L2TextContainer" presStyleLbl="revTx" presStyleIdx="4" presStyleCnt="6">
        <dgm:presLayoutVars>
          <dgm:bulletEnabled val="1"/>
        </dgm:presLayoutVars>
      </dgm:prSet>
      <dgm:spPr/>
    </dgm:pt>
    <dgm:pt modelId="{9045FA77-752E-4766-BC49-83928342663C}" type="pres">
      <dgm:prSet presAssocID="{923BC028-6505-47D1-AFE4-C130C7AC844D}" presName="L1TextContainer" presStyleLbl="revTx" presStyleIdx="5" presStyleCnt="6" custLinFactNeighborX="1023" custLinFactNeighborY="5435">
        <dgm:presLayoutVars>
          <dgm:chMax val="1"/>
          <dgm:chPref val="1"/>
          <dgm:bulletEnabled val="1"/>
        </dgm:presLayoutVars>
      </dgm:prSet>
      <dgm:spPr/>
    </dgm:pt>
    <dgm:pt modelId="{F78D1BE8-6314-4CBF-82F2-7A3ECA21C592}" type="pres">
      <dgm:prSet presAssocID="{923BC028-6505-47D1-AFE4-C130C7AC844D}" presName="ConnectLine" presStyleLbl="sibTrans1D1" presStyleIdx="2" presStyleCnt="3"/>
      <dgm:spPr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26E68E31-7ED7-48AF-82B6-38335B16769F}" type="pres">
      <dgm:prSet presAssocID="{923BC028-6505-47D1-AFE4-C130C7AC844D}" presName="EmptyPlaceHolder" presStyleCnt="0"/>
      <dgm:spPr/>
    </dgm:pt>
  </dgm:ptLst>
  <dgm:cxnLst>
    <dgm:cxn modelId="{754E7B07-6FF8-4B19-9659-A58639C09F05}" type="presOf" srcId="{923BC028-6505-47D1-AFE4-C130C7AC844D}" destId="{9045FA77-752E-4766-BC49-83928342663C}" srcOrd="0" destOrd="0" presId="urn:microsoft.com/office/officeart/2017/3/layout/DropPinTimeline"/>
    <dgm:cxn modelId="{5E14390E-470A-471F-808D-6FB89FB9E32E}" srcId="{9C461405-E899-4BDA-847F-F09BF45A07B4}" destId="{96C2D5B1-7D7A-44AB-9200-C205C1AB0DB9}" srcOrd="1" destOrd="0" parTransId="{FD6D8808-A2D2-412C-A027-21AC214AC556}" sibTransId="{F80A90AF-3AB4-4B6F-92D4-B1DADA57C58A}"/>
    <dgm:cxn modelId="{B4D6E97D-41AF-4C30-AA82-232F3DE5FB78}" srcId="{9C461405-E899-4BDA-847F-F09BF45A07B4}" destId="{923BC028-6505-47D1-AFE4-C130C7AC844D}" srcOrd="2" destOrd="0" parTransId="{ED1B9114-5022-478A-8D8E-00FF1C8F2BB2}" sibTransId="{CE130E62-B72B-48BB-BFDE-009BF38F445A}"/>
    <dgm:cxn modelId="{B6B342C1-EBFF-45A5-BE1D-CB2F62034396}" type="presOf" srcId="{96C2D5B1-7D7A-44AB-9200-C205C1AB0DB9}" destId="{B04E2B90-B641-4359-942D-47D59112DE24}" srcOrd="0" destOrd="0" presId="urn:microsoft.com/office/officeart/2017/3/layout/DropPinTimeline"/>
    <dgm:cxn modelId="{6308D8C5-CE60-477D-B2F1-2368EED27DEE}" srcId="{9C461405-E899-4BDA-847F-F09BF45A07B4}" destId="{C506C446-71DD-4800-B9EC-2CEA261C85FC}" srcOrd="0" destOrd="0" parTransId="{4C2E3476-1054-4346-8AF3-3D194482C959}" sibTransId="{5DC9CBD3-78FA-49E7-A51F-DE4246B3DA63}"/>
    <dgm:cxn modelId="{0442F6DA-0556-4120-BE6B-B632ECB20BF6}" type="presOf" srcId="{9C461405-E899-4BDA-847F-F09BF45A07B4}" destId="{90AF004A-E7F2-4B9A-8C34-3AC32288FE3C}" srcOrd="0" destOrd="0" presId="urn:microsoft.com/office/officeart/2017/3/layout/DropPinTimeline"/>
    <dgm:cxn modelId="{804CE9E1-AEBB-4A4E-A2EE-AC6F6537D89D}" type="presOf" srcId="{C506C446-71DD-4800-B9EC-2CEA261C85FC}" destId="{D8B41552-4633-4A07-A10D-33BD6ECA781E}" srcOrd="0" destOrd="0" presId="urn:microsoft.com/office/officeart/2017/3/layout/DropPinTimeline"/>
    <dgm:cxn modelId="{4A0A096F-CEEC-4619-8EE1-25B28F58E6C9}" type="presParOf" srcId="{90AF004A-E7F2-4B9A-8C34-3AC32288FE3C}" destId="{79E4F431-2D5E-450E-8E51-09919FA26C47}" srcOrd="0" destOrd="0" presId="urn:microsoft.com/office/officeart/2017/3/layout/DropPinTimeline"/>
    <dgm:cxn modelId="{53ED544A-8B52-40B4-8215-2F83C16138ED}" type="presParOf" srcId="{90AF004A-E7F2-4B9A-8C34-3AC32288FE3C}" destId="{86FDD78A-6D95-40F2-B859-176A25A88F1B}" srcOrd="1" destOrd="0" presId="urn:microsoft.com/office/officeart/2017/3/layout/DropPinTimeline"/>
    <dgm:cxn modelId="{638BFD59-1877-41FE-AB51-41C4FCBC6703}" type="presParOf" srcId="{86FDD78A-6D95-40F2-B859-176A25A88F1B}" destId="{BE0ABB15-C323-4F6B-8455-042CC92AA1BA}" srcOrd="0" destOrd="0" presId="urn:microsoft.com/office/officeart/2017/3/layout/DropPinTimeline"/>
    <dgm:cxn modelId="{A74063F1-3740-4F5C-9AD2-F4BD46C6985A}" type="presParOf" srcId="{BE0ABB15-C323-4F6B-8455-042CC92AA1BA}" destId="{F61F01B2-495B-4E80-B19A-3D5F33285DE5}" srcOrd="0" destOrd="0" presId="urn:microsoft.com/office/officeart/2017/3/layout/DropPinTimeline"/>
    <dgm:cxn modelId="{0B6FAB4F-B1A4-48C0-96A1-EE302035499F}" type="presParOf" srcId="{BE0ABB15-C323-4F6B-8455-042CC92AA1BA}" destId="{FB369683-4C81-4D28-BB52-E6AE5D874656}" srcOrd="1" destOrd="0" presId="urn:microsoft.com/office/officeart/2017/3/layout/DropPinTimeline"/>
    <dgm:cxn modelId="{2AEFB96E-EE3B-42B4-9242-749162AF3BA7}" type="presParOf" srcId="{FB369683-4C81-4D28-BB52-E6AE5D874656}" destId="{A0847E7E-6E15-47CE-9D6C-C58B22651211}" srcOrd="0" destOrd="0" presId="urn:microsoft.com/office/officeart/2017/3/layout/DropPinTimeline"/>
    <dgm:cxn modelId="{CD77B644-3055-4B20-9424-167BDCFEC14A}" type="presParOf" srcId="{FB369683-4C81-4D28-BB52-E6AE5D874656}" destId="{E5BF9E1A-EEF3-4A06-A69D-8D9078F17967}" srcOrd="1" destOrd="0" presId="urn:microsoft.com/office/officeart/2017/3/layout/DropPinTimeline"/>
    <dgm:cxn modelId="{2EFC313A-A403-4D88-AAAD-D79AC302A8BE}" type="presParOf" srcId="{BE0ABB15-C323-4F6B-8455-042CC92AA1BA}" destId="{C13B4051-0770-4031-9EA5-4C4345355EF0}" srcOrd="2" destOrd="0" presId="urn:microsoft.com/office/officeart/2017/3/layout/DropPinTimeline"/>
    <dgm:cxn modelId="{90E2EDFF-F229-4D62-BE6C-D7073B98C7D0}" type="presParOf" srcId="{BE0ABB15-C323-4F6B-8455-042CC92AA1BA}" destId="{D8B41552-4633-4A07-A10D-33BD6ECA781E}" srcOrd="3" destOrd="0" presId="urn:microsoft.com/office/officeart/2017/3/layout/DropPinTimeline"/>
    <dgm:cxn modelId="{7B921A06-4391-4019-AD47-27D9344F3F1B}" type="presParOf" srcId="{BE0ABB15-C323-4F6B-8455-042CC92AA1BA}" destId="{6DB38C9C-DDD8-49AF-8A63-6696F37F2744}" srcOrd="4" destOrd="0" presId="urn:microsoft.com/office/officeart/2017/3/layout/DropPinTimeline"/>
    <dgm:cxn modelId="{7A745501-D813-42D9-B87F-EED1D067AA25}" type="presParOf" srcId="{BE0ABB15-C323-4F6B-8455-042CC92AA1BA}" destId="{386A31CD-6E4F-4FF4-A30A-23365EC4E6D2}" srcOrd="5" destOrd="0" presId="urn:microsoft.com/office/officeart/2017/3/layout/DropPinTimeline"/>
    <dgm:cxn modelId="{2D414F35-4D14-49FF-987F-1AF9B20EDC75}" type="presParOf" srcId="{86FDD78A-6D95-40F2-B859-176A25A88F1B}" destId="{E249277F-FADC-4DF6-85AE-CECA1738078F}" srcOrd="1" destOrd="0" presId="urn:microsoft.com/office/officeart/2017/3/layout/DropPinTimeline"/>
    <dgm:cxn modelId="{0F5F53E2-12FB-4DB9-BB57-05B1B3E223EA}" type="presParOf" srcId="{86FDD78A-6D95-40F2-B859-176A25A88F1B}" destId="{8FF807FA-8C7E-436B-A7F1-A97344FAB5B9}" srcOrd="2" destOrd="0" presId="urn:microsoft.com/office/officeart/2017/3/layout/DropPinTimeline"/>
    <dgm:cxn modelId="{22DDE8A3-2FA9-4123-B206-F5D037849098}" type="presParOf" srcId="{8FF807FA-8C7E-436B-A7F1-A97344FAB5B9}" destId="{2F37D170-275F-4014-9B66-B38F55AA3F65}" srcOrd="0" destOrd="0" presId="urn:microsoft.com/office/officeart/2017/3/layout/DropPinTimeline"/>
    <dgm:cxn modelId="{134259CA-FFD1-4A47-A773-6307944CFDA5}" type="presParOf" srcId="{8FF807FA-8C7E-436B-A7F1-A97344FAB5B9}" destId="{71E9BDC5-4ADE-4D25-AC52-9D1BE25D0187}" srcOrd="1" destOrd="0" presId="urn:microsoft.com/office/officeart/2017/3/layout/DropPinTimeline"/>
    <dgm:cxn modelId="{FF22E1E1-43FC-457E-9EA4-8903C7994535}" type="presParOf" srcId="{71E9BDC5-4ADE-4D25-AC52-9D1BE25D0187}" destId="{0AFF2147-3759-4332-A275-FF8507D17E70}" srcOrd="0" destOrd="0" presId="urn:microsoft.com/office/officeart/2017/3/layout/DropPinTimeline"/>
    <dgm:cxn modelId="{0A2A2744-E130-42E9-9D26-85476C622792}" type="presParOf" srcId="{71E9BDC5-4ADE-4D25-AC52-9D1BE25D0187}" destId="{BF5C1AD6-9550-4F27-94F4-A80D44EFDF43}" srcOrd="1" destOrd="0" presId="urn:microsoft.com/office/officeart/2017/3/layout/DropPinTimeline"/>
    <dgm:cxn modelId="{01E95F0F-BAC3-4074-9F04-70EAFEA495EC}" type="presParOf" srcId="{8FF807FA-8C7E-436B-A7F1-A97344FAB5B9}" destId="{4B6D73B5-5A28-4D18-ABD7-5CF35A589C8A}" srcOrd="2" destOrd="0" presId="urn:microsoft.com/office/officeart/2017/3/layout/DropPinTimeline"/>
    <dgm:cxn modelId="{A17DEBD6-392B-402A-A12F-9A33549C2354}" type="presParOf" srcId="{8FF807FA-8C7E-436B-A7F1-A97344FAB5B9}" destId="{B04E2B90-B641-4359-942D-47D59112DE24}" srcOrd="3" destOrd="0" presId="urn:microsoft.com/office/officeart/2017/3/layout/DropPinTimeline"/>
    <dgm:cxn modelId="{A7FC2D17-A802-4077-A9C0-69885963FE45}" type="presParOf" srcId="{8FF807FA-8C7E-436B-A7F1-A97344FAB5B9}" destId="{165656CC-241C-48F6-83A8-0DAB1014E2D6}" srcOrd="4" destOrd="0" presId="urn:microsoft.com/office/officeart/2017/3/layout/DropPinTimeline"/>
    <dgm:cxn modelId="{8430EFAB-1F15-459A-A177-3C2F1D0B90DD}" type="presParOf" srcId="{8FF807FA-8C7E-436B-A7F1-A97344FAB5B9}" destId="{12DF6020-951E-48AA-AB95-5B89D6AE0E95}" srcOrd="5" destOrd="0" presId="urn:microsoft.com/office/officeart/2017/3/layout/DropPinTimeline"/>
    <dgm:cxn modelId="{D1AD8B62-0B8F-49F7-B9C6-6F4719389624}" type="presParOf" srcId="{86FDD78A-6D95-40F2-B859-176A25A88F1B}" destId="{75D7D005-A4BE-4833-A632-CCCB52ED2D1A}" srcOrd="3" destOrd="0" presId="urn:microsoft.com/office/officeart/2017/3/layout/DropPinTimeline"/>
    <dgm:cxn modelId="{44870F8B-0226-4A6B-A829-AAD6090DB45A}" type="presParOf" srcId="{86FDD78A-6D95-40F2-B859-176A25A88F1B}" destId="{24C7F27D-DC82-4272-B7E1-10F783A0D0CB}" srcOrd="4" destOrd="0" presId="urn:microsoft.com/office/officeart/2017/3/layout/DropPinTimeline"/>
    <dgm:cxn modelId="{912FF9FD-5FC5-425A-B481-6FDD6E58E193}" type="presParOf" srcId="{24C7F27D-DC82-4272-B7E1-10F783A0D0CB}" destId="{CDEB2CF1-A372-4E04-BD92-5DA096699F16}" srcOrd="0" destOrd="0" presId="urn:microsoft.com/office/officeart/2017/3/layout/DropPinTimeline"/>
    <dgm:cxn modelId="{B4D63014-D095-448D-8610-EC01C51E77D6}" type="presParOf" srcId="{24C7F27D-DC82-4272-B7E1-10F783A0D0CB}" destId="{EF147D88-8F82-41F1-9B88-7E6AFD093E8A}" srcOrd="1" destOrd="0" presId="urn:microsoft.com/office/officeart/2017/3/layout/DropPinTimeline"/>
    <dgm:cxn modelId="{32BAAFFA-6D23-4C9B-B95B-9D3F2CD01F6B}" type="presParOf" srcId="{EF147D88-8F82-41F1-9B88-7E6AFD093E8A}" destId="{EA087CE1-46CC-4FB3-B4AD-309234AAFE87}" srcOrd="0" destOrd="0" presId="urn:microsoft.com/office/officeart/2017/3/layout/DropPinTimeline"/>
    <dgm:cxn modelId="{68E9B35E-7B84-4726-8D40-4C6316B3D032}" type="presParOf" srcId="{EF147D88-8F82-41F1-9B88-7E6AFD093E8A}" destId="{C09DE9ED-74E6-4839-BD98-A4FBC8C08BD8}" srcOrd="1" destOrd="0" presId="urn:microsoft.com/office/officeart/2017/3/layout/DropPinTimeline"/>
    <dgm:cxn modelId="{62C7593D-5F24-40FD-A891-5C0FF4B16973}" type="presParOf" srcId="{24C7F27D-DC82-4272-B7E1-10F783A0D0CB}" destId="{02825D4A-7310-4E45-84A1-B6D6EFA9D41B}" srcOrd="2" destOrd="0" presId="urn:microsoft.com/office/officeart/2017/3/layout/DropPinTimeline"/>
    <dgm:cxn modelId="{0CEC8F49-68F0-4C81-80A6-7CC97A6DD5A7}" type="presParOf" srcId="{24C7F27D-DC82-4272-B7E1-10F783A0D0CB}" destId="{9045FA77-752E-4766-BC49-83928342663C}" srcOrd="3" destOrd="0" presId="urn:microsoft.com/office/officeart/2017/3/layout/DropPinTimeline"/>
    <dgm:cxn modelId="{7A313E72-11D8-4C43-85EC-1CD0B4ADDD4F}" type="presParOf" srcId="{24C7F27D-DC82-4272-B7E1-10F783A0D0CB}" destId="{F78D1BE8-6314-4CBF-82F2-7A3ECA21C592}" srcOrd="4" destOrd="0" presId="urn:microsoft.com/office/officeart/2017/3/layout/DropPinTimeline"/>
    <dgm:cxn modelId="{B9E69BFF-B993-4DF5-9E9B-3A92B979F39C}" type="presParOf" srcId="{24C7F27D-DC82-4272-B7E1-10F783A0D0CB}" destId="{26E68E31-7ED7-48AF-82B6-38335B16769F}" srcOrd="5" destOrd="0" presId="urn:microsoft.com/office/officeart/2017/3/layout/DropPinTimeline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F2803A7-90A0-4BC6-BC05-28FBD2D976FA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1E7551E2-F93B-47D4-9821-DD67FEBEF221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Hospital Level Data form</a:t>
          </a:r>
        </a:p>
      </dgm:t>
    </dgm:pt>
    <dgm:pt modelId="{35D105FF-3E6E-4E68-A8E2-85AC789B699F}" type="parTrans" cxnId="{81F77749-EF3F-41D4-B107-045C3634334D}">
      <dgm:prSet/>
      <dgm:spPr/>
      <dgm:t>
        <a:bodyPr/>
        <a:lstStyle/>
        <a:p>
          <a:endParaRPr lang="en-US"/>
        </a:p>
      </dgm:t>
    </dgm:pt>
    <dgm:pt modelId="{3482EDDA-887F-4535-922A-A7894AA6FF27}" type="sibTrans" cxnId="{81F77749-EF3F-41D4-B107-045C3634334D}">
      <dgm:prSet/>
      <dgm:spPr/>
      <dgm:t>
        <a:bodyPr/>
        <a:lstStyle/>
        <a:p>
          <a:endParaRPr lang="en-US"/>
        </a:p>
      </dgm:t>
    </dgm:pt>
    <dgm:pt modelId="{CDE93A3B-D304-4BF9-B63C-A18A03CC1339}">
      <dgm:prSet/>
      <dgm:spPr/>
      <dgm:t>
        <a:bodyPr/>
        <a:lstStyle/>
        <a:p>
          <a:pPr rtl="0"/>
          <a:r>
            <a:rPr lang="en-US">
              <a:latin typeface="DM Sans"/>
              <a:cs typeface="Calibri"/>
            </a:rPr>
            <a:t>Structure Measures </a:t>
          </a:r>
        </a:p>
      </dgm:t>
    </dgm:pt>
    <dgm:pt modelId="{AC4E72F0-4302-408C-9916-58033F307E66}" type="parTrans" cxnId="{2455CDAC-E222-43F9-9142-8813BE8A5C89}">
      <dgm:prSet/>
      <dgm:spPr/>
      <dgm:t>
        <a:bodyPr/>
        <a:lstStyle/>
        <a:p>
          <a:endParaRPr lang="en-US"/>
        </a:p>
      </dgm:t>
    </dgm:pt>
    <dgm:pt modelId="{B75563AB-8B5A-40CF-949E-A56EF8A4FEBC}" type="sibTrans" cxnId="{2455CDAC-E222-43F9-9142-8813BE8A5C89}">
      <dgm:prSet/>
      <dgm:spPr/>
      <dgm:t>
        <a:bodyPr/>
        <a:lstStyle/>
        <a:p>
          <a:endParaRPr lang="en-US"/>
        </a:p>
      </dgm:t>
    </dgm:pt>
    <dgm:pt modelId="{E048B95C-A001-4DC8-A7B9-E10A52BE0629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Education Measures</a:t>
          </a:r>
        </a:p>
      </dgm:t>
    </dgm:pt>
    <dgm:pt modelId="{D46A2253-7F42-4F35-A6D0-B92212B2AA93}" type="parTrans" cxnId="{340CA8D4-8C91-4151-8F19-CD102E3F8CCC}">
      <dgm:prSet/>
      <dgm:spPr/>
      <dgm:t>
        <a:bodyPr/>
        <a:lstStyle/>
        <a:p>
          <a:endParaRPr lang="en-US"/>
        </a:p>
      </dgm:t>
    </dgm:pt>
    <dgm:pt modelId="{5FA6BCB9-9FAB-401C-AADA-2BAB1285B0E6}" type="sibTrans" cxnId="{340CA8D4-8C91-4151-8F19-CD102E3F8CCC}">
      <dgm:prSet/>
      <dgm:spPr/>
      <dgm:t>
        <a:bodyPr/>
        <a:lstStyle/>
        <a:p>
          <a:endParaRPr lang="en-US"/>
        </a:p>
      </dgm:t>
    </dgm:pt>
    <dgm:pt modelId="{2F96AE4C-80EE-42F0-9C1C-F09A8B9EB6B1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Crib Audits</a:t>
          </a:r>
        </a:p>
      </dgm:t>
    </dgm:pt>
    <dgm:pt modelId="{993F732A-4C89-4B04-949B-565AF25BC9C1}" type="parTrans" cxnId="{B966FE98-A212-43A6-9A1C-E4F1F6105032}">
      <dgm:prSet/>
      <dgm:spPr/>
      <dgm:t>
        <a:bodyPr/>
        <a:lstStyle/>
        <a:p>
          <a:endParaRPr lang="en-US"/>
        </a:p>
      </dgm:t>
    </dgm:pt>
    <dgm:pt modelId="{840B5B38-E302-4593-A113-A37975CD5192}" type="sibTrans" cxnId="{B966FE98-A212-43A6-9A1C-E4F1F6105032}">
      <dgm:prSet/>
      <dgm:spPr/>
      <dgm:t>
        <a:bodyPr/>
        <a:lstStyle/>
        <a:p>
          <a:endParaRPr lang="en-US"/>
        </a:p>
      </dgm:t>
    </dgm:pt>
    <dgm:pt modelId="{22D5BD7D-2E8D-478E-A9E9-F93DFD60822F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Patient Level Data form</a:t>
          </a:r>
        </a:p>
      </dgm:t>
    </dgm:pt>
    <dgm:pt modelId="{0FC81F1A-D000-4B5D-A9D6-601EF1AA153F}" type="parTrans" cxnId="{7A17557C-68F8-460B-B2DB-AD1E9B339C1D}">
      <dgm:prSet/>
      <dgm:spPr/>
      <dgm:t>
        <a:bodyPr/>
        <a:lstStyle/>
        <a:p>
          <a:endParaRPr lang="en-US"/>
        </a:p>
      </dgm:t>
    </dgm:pt>
    <dgm:pt modelId="{514469A3-F785-4FB7-8162-EBEDC6170801}" type="sibTrans" cxnId="{7A17557C-68F8-460B-B2DB-AD1E9B339C1D}">
      <dgm:prSet/>
      <dgm:spPr/>
      <dgm:t>
        <a:bodyPr/>
        <a:lstStyle/>
        <a:p>
          <a:endParaRPr lang="en-US"/>
        </a:p>
      </dgm:t>
    </dgm:pt>
    <dgm:pt modelId="{29A9AEB3-1C54-4E12-B059-0D2F8ED1614B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Random sample of 20 newborns discharged each month​</a:t>
          </a:r>
        </a:p>
      </dgm:t>
    </dgm:pt>
    <dgm:pt modelId="{9FF34403-9B14-437A-8A20-24E31C6152CA}" type="parTrans" cxnId="{48C76931-764E-4E46-B9AE-F6A5150A8A32}">
      <dgm:prSet/>
      <dgm:spPr/>
      <dgm:t>
        <a:bodyPr/>
        <a:lstStyle/>
        <a:p>
          <a:endParaRPr lang="en-US"/>
        </a:p>
      </dgm:t>
    </dgm:pt>
    <dgm:pt modelId="{E12A0EB6-A256-4A0E-AA7A-712D58EA38F9}" type="sibTrans" cxnId="{48C76931-764E-4E46-B9AE-F6A5150A8A32}">
      <dgm:prSet/>
      <dgm:spPr/>
      <dgm:t>
        <a:bodyPr/>
        <a:lstStyle/>
        <a:p>
          <a:endParaRPr lang="en-US"/>
        </a:p>
      </dgm:t>
    </dgm:pt>
    <dgm:pt modelId="{8DD8113F-3048-40A9-8EC1-48C9434AE9D5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Newborn and birthing person demographic data</a:t>
          </a:r>
        </a:p>
      </dgm:t>
    </dgm:pt>
    <dgm:pt modelId="{A6A15F87-D059-4B54-9240-8FA6FAB1AA11}" type="parTrans" cxnId="{88BDBB16-3955-4632-B83B-21BDC6B2FAB9}">
      <dgm:prSet/>
      <dgm:spPr/>
      <dgm:t>
        <a:bodyPr/>
        <a:lstStyle/>
        <a:p>
          <a:endParaRPr lang="en-US"/>
        </a:p>
      </dgm:t>
    </dgm:pt>
    <dgm:pt modelId="{7E72E34E-F8D6-4976-8500-1FDB964A1093}" type="sibTrans" cxnId="{88BDBB16-3955-4632-B83B-21BDC6B2FAB9}">
      <dgm:prSet/>
      <dgm:spPr/>
      <dgm:t>
        <a:bodyPr/>
        <a:lstStyle/>
        <a:p>
          <a:endParaRPr lang="en-US"/>
        </a:p>
      </dgm:t>
    </dgm:pt>
    <dgm:pt modelId="{EAB071E8-CDD2-4E4F-8F34-A669EEE4D813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Transfer of care documentation​</a:t>
          </a:r>
        </a:p>
      </dgm:t>
    </dgm:pt>
    <dgm:pt modelId="{88AECF3A-DA6F-4E01-9F6E-DC956428531F}" type="parTrans" cxnId="{AF69837F-3867-4E2F-B39B-191E07FEEA4F}">
      <dgm:prSet/>
      <dgm:spPr/>
      <dgm:t>
        <a:bodyPr/>
        <a:lstStyle/>
        <a:p>
          <a:endParaRPr lang="en-US"/>
        </a:p>
      </dgm:t>
    </dgm:pt>
    <dgm:pt modelId="{36C97ABB-C9CF-47D0-9358-749D9FADA06A}" type="sibTrans" cxnId="{AF69837F-3867-4E2F-B39B-191E07FEEA4F}">
      <dgm:prSet/>
      <dgm:spPr/>
      <dgm:t>
        <a:bodyPr/>
        <a:lstStyle/>
        <a:p>
          <a:endParaRPr lang="en-US"/>
        </a:p>
      </dgm:t>
    </dgm:pt>
    <dgm:pt modelId="{0E7059E9-143D-2442-BDF1-B567097CEC9E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Family safe sleep education​</a:t>
          </a:r>
        </a:p>
      </dgm:t>
    </dgm:pt>
    <dgm:pt modelId="{63245D07-9F23-5743-9999-24589F6DC805}" type="parTrans" cxnId="{6946DACF-DBE5-6741-8832-71D39FE83374}">
      <dgm:prSet/>
      <dgm:spPr/>
    </dgm:pt>
    <dgm:pt modelId="{BC92C504-E40B-C84D-AC1E-DE52D63BF427}" type="sibTrans" cxnId="{6946DACF-DBE5-6741-8832-71D39FE83374}">
      <dgm:prSet/>
      <dgm:spPr/>
    </dgm:pt>
    <dgm:pt modelId="{CA9A1851-BC48-4982-B52D-BC9989FB78D2}" type="pres">
      <dgm:prSet presAssocID="{9F2803A7-90A0-4BC6-BC05-28FBD2D976FA}" presName="Name0" presStyleCnt="0">
        <dgm:presLayoutVars>
          <dgm:dir/>
          <dgm:animLvl val="lvl"/>
          <dgm:resizeHandles val="exact"/>
        </dgm:presLayoutVars>
      </dgm:prSet>
      <dgm:spPr/>
    </dgm:pt>
    <dgm:pt modelId="{9129533E-A104-45C5-A3B3-305C27EB86D4}" type="pres">
      <dgm:prSet presAssocID="{1E7551E2-F93B-47D4-9821-DD67FEBEF221}" presName="composite" presStyleCnt="0"/>
      <dgm:spPr/>
    </dgm:pt>
    <dgm:pt modelId="{0A6E60D1-F877-47D4-8B41-F856165E7A80}" type="pres">
      <dgm:prSet presAssocID="{1E7551E2-F93B-47D4-9821-DD67FEBEF221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9CDF1165-2B21-4627-8D70-B6E057345958}" type="pres">
      <dgm:prSet presAssocID="{1E7551E2-F93B-47D4-9821-DD67FEBEF221}" presName="desTx" presStyleLbl="alignAccFollowNode1" presStyleIdx="0" presStyleCnt="2">
        <dgm:presLayoutVars>
          <dgm:bulletEnabled val="1"/>
        </dgm:presLayoutVars>
      </dgm:prSet>
      <dgm:spPr/>
    </dgm:pt>
    <dgm:pt modelId="{BA2F7A74-7A3D-4692-B18C-DEEE183052BE}" type="pres">
      <dgm:prSet presAssocID="{3482EDDA-887F-4535-922A-A7894AA6FF27}" presName="space" presStyleCnt="0"/>
      <dgm:spPr/>
    </dgm:pt>
    <dgm:pt modelId="{28FDC6B1-63B4-4B80-8398-8943F315BE9C}" type="pres">
      <dgm:prSet presAssocID="{22D5BD7D-2E8D-478E-A9E9-F93DFD60822F}" presName="composite" presStyleCnt="0"/>
      <dgm:spPr/>
    </dgm:pt>
    <dgm:pt modelId="{72E90577-3D0A-44A9-802D-7402B1482B47}" type="pres">
      <dgm:prSet presAssocID="{22D5BD7D-2E8D-478E-A9E9-F93DFD60822F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CF05495E-421B-40F8-91AB-BC717C052FA2}" type="pres">
      <dgm:prSet presAssocID="{22D5BD7D-2E8D-478E-A9E9-F93DFD60822F}" presName="desTx" presStyleLbl="alignAccFollowNode1" presStyleIdx="1" presStyleCnt="2">
        <dgm:presLayoutVars>
          <dgm:bulletEnabled val="1"/>
        </dgm:presLayoutVars>
      </dgm:prSet>
      <dgm:spPr/>
    </dgm:pt>
  </dgm:ptLst>
  <dgm:cxnLst>
    <dgm:cxn modelId="{FE096E00-CE66-4981-9D15-0A3D8AD2388C}" type="presOf" srcId="{EAB071E8-CDD2-4E4F-8F34-A669EEE4D813}" destId="{CF05495E-421B-40F8-91AB-BC717C052FA2}" srcOrd="0" destOrd="3" presId="urn:microsoft.com/office/officeart/2005/8/layout/hList1"/>
    <dgm:cxn modelId="{88BDBB16-3955-4632-B83B-21BDC6B2FAB9}" srcId="{22D5BD7D-2E8D-478E-A9E9-F93DFD60822F}" destId="{8DD8113F-3048-40A9-8EC1-48C9434AE9D5}" srcOrd="1" destOrd="0" parTransId="{A6A15F87-D059-4B54-9240-8FA6FAB1AA11}" sibTransId="{7E72E34E-F8D6-4976-8500-1FDB964A1093}"/>
    <dgm:cxn modelId="{48C76931-764E-4E46-B9AE-F6A5150A8A32}" srcId="{22D5BD7D-2E8D-478E-A9E9-F93DFD60822F}" destId="{29A9AEB3-1C54-4E12-B059-0D2F8ED1614B}" srcOrd="0" destOrd="0" parTransId="{9FF34403-9B14-437A-8A20-24E31C6152CA}" sibTransId="{E12A0EB6-A256-4A0E-AA7A-712D58EA38F9}"/>
    <dgm:cxn modelId="{81F77749-EF3F-41D4-B107-045C3634334D}" srcId="{9F2803A7-90A0-4BC6-BC05-28FBD2D976FA}" destId="{1E7551E2-F93B-47D4-9821-DD67FEBEF221}" srcOrd="0" destOrd="0" parTransId="{35D105FF-3E6E-4E68-A8E2-85AC789B699F}" sibTransId="{3482EDDA-887F-4535-922A-A7894AA6FF27}"/>
    <dgm:cxn modelId="{B00CE04B-5B7D-42FA-81C6-EC6C82D6C67B}" type="presOf" srcId="{2F96AE4C-80EE-42F0-9C1C-F09A8B9EB6B1}" destId="{9CDF1165-2B21-4627-8D70-B6E057345958}" srcOrd="0" destOrd="2" presId="urn:microsoft.com/office/officeart/2005/8/layout/hList1"/>
    <dgm:cxn modelId="{7165D74D-6BFD-4210-8ABA-77B18A6E3AC1}" type="presOf" srcId="{22D5BD7D-2E8D-478E-A9E9-F93DFD60822F}" destId="{72E90577-3D0A-44A9-802D-7402B1482B47}" srcOrd="0" destOrd="0" presId="urn:microsoft.com/office/officeart/2005/8/layout/hList1"/>
    <dgm:cxn modelId="{C7531579-4B3E-4E9C-A637-CB5355321A5E}" type="presOf" srcId="{9F2803A7-90A0-4BC6-BC05-28FBD2D976FA}" destId="{CA9A1851-BC48-4982-B52D-BC9989FB78D2}" srcOrd="0" destOrd="0" presId="urn:microsoft.com/office/officeart/2005/8/layout/hList1"/>
    <dgm:cxn modelId="{6C1E4979-0D1B-4298-B1D9-B252DC74106A}" type="presOf" srcId="{E048B95C-A001-4DC8-A7B9-E10A52BE0629}" destId="{9CDF1165-2B21-4627-8D70-B6E057345958}" srcOrd="0" destOrd="1" presId="urn:microsoft.com/office/officeart/2005/8/layout/hList1"/>
    <dgm:cxn modelId="{7A17557C-68F8-460B-B2DB-AD1E9B339C1D}" srcId="{9F2803A7-90A0-4BC6-BC05-28FBD2D976FA}" destId="{22D5BD7D-2E8D-478E-A9E9-F93DFD60822F}" srcOrd="1" destOrd="0" parTransId="{0FC81F1A-D000-4B5D-A9D6-601EF1AA153F}" sibTransId="{514469A3-F785-4FB7-8162-EBEDC6170801}"/>
    <dgm:cxn modelId="{0590D27C-00A3-46A1-B525-278D462D6D9B}" type="presOf" srcId="{29A9AEB3-1C54-4E12-B059-0D2F8ED1614B}" destId="{CF05495E-421B-40F8-91AB-BC717C052FA2}" srcOrd="0" destOrd="0" presId="urn:microsoft.com/office/officeart/2005/8/layout/hList1"/>
    <dgm:cxn modelId="{AF69837F-3867-4E2F-B39B-191E07FEEA4F}" srcId="{22D5BD7D-2E8D-478E-A9E9-F93DFD60822F}" destId="{EAB071E8-CDD2-4E4F-8F34-A669EEE4D813}" srcOrd="3" destOrd="0" parTransId="{88AECF3A-DA6F-4E01-9F6E-DC956428531F}" sibTransId="{36C97ABB-C9CF-47D0-9358-749D9FADA06A}"/>
    <dgm:cxn modelId="{45D2B28C-15A1-44B9-9119-17C11CDEBD07}" type="presOf" srcId="{1E7551E2-F93B-47D4-9821-DD67FEBEF221}" destId="{0A6E60D1-F877-47D4-8B41-F856165E7A80}" srcOrd="0" destOrd="0" presId="urn:microsoft.com/office/officeart/2005/8/layout/hList1"/>
    <dgm:cxn modelId="{B966FE98-A212-43A6-9A1C-E4F1F6105032}" srcId="{1E7551E2-F93B-47D4-9821-DD67FEBEF221}" destId="{2F96AE4C-80EE-42F0-9C1C-F09A8B9EB6B1}" srcOrd="2" destOrd="0" parTransId="{993F732A-4C89-4B04-949B-565AF25BC9C1}" sibTransId="{840B5B38-E302-4593-A113-A37975CD5192}"/>
    <dgm:cxn modelId="{2455CDAC-E222-43F9-9142-8813BE8A5C89}" srcId="{1E7551E2-F93B-47D4-9821-DD67FEBEF221}" destId="{CDE93A3B-D304-4BF9-B63C-A18A03CC1339}" srcOrd="0" destOrd="0" parTransId="{AC4E72F0-4302-408C-9916-58033F307E66}" sibTransId="{B75563AB-8B5A-40CF-949E-A56EF8A4FEBC}"/>
    <dgm:cxn modelId="{687232AD-801E-49C7-A659-6917DB7391DF}" type="presOf" srcId="{CDE93A3B-D304-4BF9-B63C-A18A03CC1339}" destId="{9CDF1165-2B21-4627-8D70-B6E057345958}" srcOrd="0" destOrd="0" presId="urn:microsoft.com/office/officeart/2005/8/layout/hList1"/>
    <dgm:cxn modelId="{6946DACF-DBE5-6741-8832-71D39FE83374}" srcId="{22D5BD7D-2E8D-478E-A9E9-F93DFD60822F}" destId="{0E7059E9-143D-2442-BDF1-B567097CEC9E}" srcOrd="2" destOrd="0" parTransId="{63245D07-9F23-5743-9999-24589F6DC805}" sibTransId="{BC92C504-E40B-C84D-AC1E-DE52D63BF427}"/>
    <dgm:cxn modelId="{340CA8D4-8C91-4151-8F19-CD102E3F8CCC}" srcId="{1E7551E2-F93B-47D4-9821-DD67FEBEF221}" destId="{E048B95C-A001-4DC8-A7B9-E10A52BE0629}" srcOrd="1" destOrd="0" parTransId="{D46A2253-7F42-4F35-A6D0-B92212B2AA93}" sibTransId="{5FA6BCB9-9FAB-401C-AADA-2BAB1285B0E6}"/>
    <dgm:cxn modelId="{371B7BD9-6F73-40A3-9216-7B800D8FFB25}" type="presOf" srcId="{8DD8113F-3048-40A9-8EC1-48C9434AE9D5}" destId="{CF05495E-421B-40F8-91AB-BC717C052FA2}" srcOrd="0" destOrd="1" presId="urn:microsoft.com/office/officeart/2005/8/layout/hList1"/>
    <dgm:cxn modelId="{CF49FDE4-6FD3-B047-AB58-2C50AC884160}" type="presOf" srcId="{0E7059E9-143D-2442-BDF1-B567097CEC9E}" destId="{CF05495E-421B-40F8-91AB-BC717C052FA2}" srcOrd="0" destOrd="2" presId="urn:microsoft.com/office/officeart/2005/8/layout/hList1"/>
    <dgm:cxn modelId="{89902445-5C9C-4DEC-AF52-A6FEF9EB696B}" type="presParOf" srcId="{CA9A1851-BC48-4982-B52D-BC9989FB78D2}" destId="{9129533E-A104-45C5-A3B3-305C27EB86D4}" srcOrd="0" destOrd="0" presId="urn:microsoft.com/office/officeart/2005/8/layout/hList1"/>
    <dgm:cxn modelId="{DF7AF739-0732-4AA9-9990-97583BB98171}" type="presParOf" srcId="{9129533E-A104-45C5-A3B3-305C27EB86D4}" destId="{0A6E60D1-F877-47D4-8B41-F856165E7A80}" srcOrd="0" destOrd="0" presId="urn:microsoft.com/office/officeart/2005/8/layout/hList1"/>
    <dgm:cxn modelId="{BA89DBE8-F864-41DC-B5B3-EE7E81A28A4D}" type="presParOf" srcId="{9129533E-A104-45C5-A3B3-305C27EB86D4}" destId="{9CDF1165-2B21-4627-8D70-B6E057345958}" srcOrd="1" destOrd="0" presId="urn:microsoft.com/office/officeart/2005/8/layout/hList1"/>
    <dgm:cxn modelId="{BBF643C8-4331-4499-B743-2FE207F17EB9}" type="presParOf" srcId="{CA9A1851-BC48-4982-B52D-BC9989FB78D2}" destId="{BA2F7A74-7A3D-4692-B18C-DEEE183052BE}" srcOrd="1" destOrd="0" presId="urn:microsoft.com/office/officeart/2005/8/layout/hList1"/>
    <dgm:cxn modelId="{27CCB225-6587-49D5-A4FA-EAD3CC97C905}" type="presParOf" srcId="{CA9A1851-BC48-4982-B52D-BC9989FB78D2}" destId="{28FDC6B1-63B4-4B80-8398-8943F315BE9C}" srcOrd="2" destOrd="0" presId="urn:microsoft.com/office/officeart/2005/8/layout/hList1"/>
    <dgm:cxn modelId="{76BF201C-395D-46F7-9054-A027AFFD8F08}" type="presParOf" srcId="{28FDC6B1-63B4-4B80-8398-8943F315BE9C}" destId="{72E90577-3D0A-44A9-802D-7402B1482B47}" srcOrd="0" destOrd="0" presId="urn:microsoft.com/office/officeart/2005/8/layout/hList1"/>
    <dgm:cxn modelId="{0B39C839-4462-4100-BB73-959B02A80F29}" type="presParOf" srcId="{28FDC6B1-63B4-4B80-8398-8943F315BE9C}" destId="{CF05495E-421B-40F8-91AB-BC717C052FA2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202B0C-73E3-4FE0-AE31-9D4E51D7D38F}">
      <dsp:nvSpPr>
        <dsp:cNvPr id="0" name=""/>
        <dsp:cNvSpPr/>
      </dsp:nvSpPr>
      <dsp:spPr>
        <a:xfrm>
          <a:off x="0" y="4366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7F77850-9AEC-4F25-AA31-E89395EE4FF0}">
      <dsp:nvSpPr>
        <dsp:cNvPr id="0" name=""/>
        <dsp:cNvSpPr/>
      </dsp:nvSpPr>
      <dsp:spPr>
        <a:xfrm>
          <a:off x="281355" y="213639"/>
          <a:ext cx="511556" cy="511556"/>
        </a:xfrm>
        <a:prstGeom prst="rect">
          <a:avLst/>
        </a:prstGeom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CAE225C-FE04-4CE9-A9A3-60CAC3219064}">
      <dsp:nvSpPr>
        <dsp:cNvPr id="0" name=""/>
        <dsp:cNvSpPr/>
      </dsp:nvSpPr>
      <dsp:spPr>
        <a:xfrm>
          <a:off x="1074268" y="4366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Roster</a:t>
          </a:r>
          <a:r>
            <a:rPr lang="en-US" sz="1900" kern="1200">
              <a:latin typeface="Calibri" panose="020F0502020204030204"/>
            </a:rPr>
            <a:t> completed</a:t>
          </a:r>
          <a:endParaRPr lang="en-US" sz="1900" kern="1200"/>
        </a:p>
      </dsp:txBody>
      <dsp:txXfrm>
        <a:off x="1074268" y="4366"/>
        <a:ext cx="5170996" cy="930102"/>
      </dsp:txXfrm>
    </dsp:sp>
    <dsp:sp modelId="{B9A615F9-4B41-4A9E-B2E1-37E1E8A3C4E0}">
      <dsp:nvSpPr>
        <dsp:cNvPr id="0" name=""/>
        <dsp:cNvSpPr/>
      </dsp:nvSpPr>
      <dsp:spPr>
        <a:xfrm>
          <a:off x="0" y="1166994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BF02F5-C0DC-4756-9F1A-E5A4EAD919C2}">
      <dsp:nvSpPr>
        <dsp:cNvPr id="0" name=""/>
        <dsp:cNvSpPr/>
      </dsp:nvSpPr>
      <dsp:spPr>
        <a:xfrm>
          <a:off x="281355" y="1376267"/>
          <a:ext cx="511556" cy="511556"/>
        </a:xfrm>
        <a:prstGeom prst="rect">
          <a:avLst/>
        </a:prstGeom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D8196F-B337-4AF8-AF88-96A24CCD0947}">
      <dsp:nvSpPr>
        <dsp:cNvPr id="0" name=""/>
        <dsp:cNvSpPr/>
      </dsp:nvSpPr>
      <dsp:spPr>
        <a:xfrm>
          <a:off x="1074268" y="1166994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Readiness survey</a:t>
          </a:r>
          <a:r>
            <a:rPr lang="en-US" sz="1900" kern="1200">
              <a:latin typeface="Calibri" panose="020F0502020204030204"/>
            </a:rPr>
            <a:t> submitted</a:t>
          </a:r>
          <a:endParaRPr lang="en-US" sz="1900" kern="1200"/>
        </a:p>
      </dsp:txBody>
      <dsp:txXfrm>
        <a:off x="1074268" y="1166994"/>
        <a:ext cx="5170996" cy="930102"/>
      </dsp:txXfrm>
    </dsp:sp>
    <dsp:sp modelId="{C835CB1C-8BCF-4E68-BA83-388E026FD4EC}">
      <dsp:nvSpPr>
        <dsp:cNvPr id="0" name=""/>
        <dsp:cNvSpPr/>
      </dsp:nvSpPr>
      <dsp:spPr>
        <a:xfrm>
          <a:off x="0" y="2329622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27798A9-D92B-4B89-8A82-E4C56811104B}">
      <dsp:nvSpPr>
        <dsp:cNvPr id="0" name=""/>
        <dsp:cNvSpPr/>
      </dsp:nvSpPr>
      <dsp:spPr>
        <a:xfrm>
          <a:off x="281355" y="2538895"/>
          <a:ext cx="511556" cy="511556"/>
        </a:xfrm>
        <a:prstGeom prst="rect">
          <a:avLst/>
        </a:prstGeom>
        <a:blipFill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C93FD6-FE78-4E19-8113-215B862E0B3B}">
      <dsp:nvSpPr>
        <dsp:cNvPr id="0" name=""/>
        <dsp:cNvSpPr/>
      </dsp:nvSpPr>
      <dsp:spPr>
        <a:xfrm>
          <a:off x="1074268" y="2329622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Data submission Baseline-March</a:t>
          </a:r>
          <a:r>
            <a:rPr lang="en-US" sz="1900" kern="1200">
              <a:latin typeface="Aptos Display" panose="020F0302020204030204"/>
            </a:rPr>
            <a:t> 2024</a:t>
          </a:r>
          <a:endParaRPr lang="en-US" sz="1900" kern="1200"/>
        </a:p>
      </dsp:txBody>
      <dsp:txXfrm>
        <a:off x="1074268" y="2329622"/>
        <a:ext cx="5170996" cy="930102"/>
      </dsp:txXfrm>
    </dsp:sp>
    <dsp:sp modelId="{5337A328-9D44-4FD8-A65D-8843ECCBAEB9}">
      <dsp:nvSpPr>
        <dsp:cNvPr id="0" name=""/>
        <dsp:cNvSpPr/>
      </dsp:nvSpPr>
      <dsp:spPr>
        <a:xfrm>
          <a:off x="0" y="3492250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83B2FA-E8DD-4F67-ABC9-8F64E73C68CB}">
      <dsp:nvSpPr>
        <dsp:cNvPr id="0" name=""/>
        <dsp:cNvSpPr/>
      </dsp:nvSpPr>
      <dsp:spPr>
        <a:xfrm>
          <a:off x="281355" y="3701523"/>
          <a:ext cx="511556" cy="511556"/>
        </a:xfrm>
        <a:prstGeom prst="rect">
          <a:avLst/>
        </a:prstGeom>
        <a:blipFill>
          <a:blip xmlns:r="http://schemas.openxmlformats.org/officeDocument/2006/relationships"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C2D13B-CA3C-42DE-82A0-173555030FAA}">
      <dsp:nvSpPr>
        <dsp:cNvPr id="0" name=""/>
        <dsp:cNvSpPr/>
      </dsp:nvSpPr>
      <dsp:spPr>
        <a:xfrm>
          <a:off x="1074268" y="3492250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Regular webinar attendance</a:t>
          </a:r>
          <a:endParaRPr lang="en-US" sz="1900" kern="1200"/>
        </a:p>
      </dsp:txBody>
      <dsp:txXfrm>
        <a:off x="1074268" y="3492250"/>
        <a:ext cx="5170996" cy="930102"/>
      </dsp:txXfrm>
    </dsp:sp>
    <dsp:sp modelId="{5615F553-8E0E-46E9-AADF-90659E3BED77}">
      <dsp:nvSpPr>
        <dsp:cNvPr id="0" name=""/>
        <dsp:cNvSpPr/>
      </dsp:nvSpPr>
      <dsp:spPr>
        <a:xfrm>
          <a:off x="0" y="4654878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8E9CB8-CF0C-4630-B17A-A79A810C1ED3}">
      <dsp:nvSpPr>
        <dsp:cNvPr id="0" name=""/>
        <dsp:cNvSpPr/>
      </dsp:nvSpPr>
      <dsp:spPr>
        <a:xfrm>
          <a:off x="281355" y="4864151"/>
          <a:ext cx="511556" cy="511556"/>
        </a:xfrm>
        <a:prstGeom prst="rect">
          <a:avLst/>
        </a:prstGeom>
        <a:blipFill>
          <a:blip xmlns:r="http://schemas.openxmlformats.org/officeDocument/2006/relationships"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CD02C7-6B37-4267-AC58-EE3D761DFA40}">
      <dsp:nvSpPr>
        <dsp:cNvPr id="0" name=""/>
        <dsp:cNvSpPr/>
      </dsp:nvSpPr>
      <dsp:spPr>
        <a:xfrm>
          <a:off x="1074268" y="4654878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At least 1 ESSI team member registered and attended PQI Training </a:t>
          </a:r>
          <a:endParaRPr lang="en-US" sz="1900" kern="1200"/>
        </a:p>
      </dsp:txBody>
      <dsp:txXfrm>
        <a:off x="1074268" y="4654878"/>
        <a:ext cx="5170996" cy="93010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E4F431-2D5E-450E-8E51-09919FA26C47}">
      <dsp:nvSpPr>
        <dsp:cNvPr id="0" name=""/>
        <dsp:cNvSpPr/>
      </dsp:nvSpPr>
      <dsp:spPr>
        <a:xfrm>
          <a:off x="0" y="2676411"/>
          <a:ext cx="10320057" cy="0"/>
        </a:xfrm>
        <a:prstGeom prst="lin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847E7E-6E15-47CE-9D6C-C58B22651211}">
      <dsp:nvSpPr>
        <dsp:cNvPr id="0" name=""/>
        <dsp:cNvSpPr/>
      </dsp:nvSpPr>
      <dsp:spPr>
        <a:xfrm rot="8100000">
          <a:off x="88905" y="616808"/>
          <a:ext cx="393641" cy="393641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5BF9E1A-EEF3-4A06-A69D-8D9078F17967}">
      <dsp:nvSpPr>
        <dsp:cNvPr id="0" name=""/>
        <dsp:cNvSpPr/>
      </dsp:nvSpPr>
      <dsp:spPr>
        <a:xfrm>
          <a:off x="132635" y="660538"/>
          <a:ext cx="306181" cy="306181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3B4051-0770-4031-9EA5-4C4345355EF0}">
      <dsp:nvSpPr>
        <dsp:cNvPr id="0" name=""/>
        <dsp:cNvSpPr/>
      </dsp:nvSpPr>
      <dsp:spPr>
        <a:xfrm>
          <a:off x="532691" y="1526536"/>
          <a:ext cx="4287105" cy="15844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8B41552-4633-4A07-A10D-33BD6ECA781E}">
      <dsp:nvSpPr>
        <dsp:cNvPr id="0" name=""/>
        <dsp:cNvSpPr/>
      </dsp:nvSpPr>
      <dsp:spPr>
        <a:xfrm>
          <a:off x="532691" y="969842"/>
          <a:ext cx="4287105" cy="5566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82550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300" kern="1200">
              <a:latin typeface="DM Sans"/>
            </a:rPr>
            <a:t>Review current safe sleep policy and update policy to reflect 2022 AAP Recommendations. </a:t>
          </a:r>
          <a:endParaRPr lang="en-US" sz="1300" kern="1200"/>
        </a:p>
      </dsp:txBody>
      <dsp:txXfrm>
        <a:off x="532691" y="969842"/>
        <a:ext cx="4287105" cy="556693"/>
      </dsp:txXfrm>
    </dsp:sp>
    <dsp:sp modelId="{6DB38C9C-DDD8-49AF-8A63-6696F37F2744}">
      <dsp:nvSpPr>
        <dsp:cNvPr id="0" name=""/>
        <dsp:cNvSpPr/>
      </dsp:nvSpPr>
      <dsp:spPr>
        <a:xfrm>
          <a:off x="285726" y="1091975"/>
          <a:ext cx="0" cy="1584435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1F01B2-495B-4E80-B19A-3D5F33285DE5}">
      <dsp:nvSpPr>
        <dsp:cNvPr id="0" name=""/>
        <dsp:cNvSpPr/>
      </dsp:nvSpPr>
      <dsp:spPr>
        <a:xfrm>
          <a:off x="235624" y="2626309"/>
          <a:ext cx="100204" cy="10020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AFF2147-3759-4332-A275-FF8507D17E70}">
      <dsp:nvSpPr>
        <dsp:cNvPr id="0" name=""/>
        <dsp:cNvSpPr/>
      </dsp:nvSpPr>
      <dsp:spPr>
        <a:xfrm rot="18900000">
          <a:off x="2658960" y="4342372"/>
          <a:ext cx="393641" cy="393641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5C1AD6-9550-4F27-94F4-A80D44EFDF43}">
      <dsp:nvSpPr>
        <dsp:cNvPr id="0" name=""/>
        <dsp:cNvSpPr/>
      </dsp:nvSpPr>
      <dsp:spPr>
        <a:xfrm>
          <a:off x="2702691" y="4386103"/>
          <a:ext cx="306181" cy="306181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B6D73B5-5A28-4D18-ABD7-5CF35A589C8A}">
      <dsp:nvSpPr>
        <dsp:cNvPr id="0" name=""/>
        <dsp:cNvSpPr/>
      </dsp:nvSpPr>
      <dsp:spPr>
        <a:xfrm>
          <a:off x="2985451" y="1383741"/>
          <a:ext cx="4287105" cy="15844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04E2B90-B641-4359-942D-47D59112DE24}">
      <dsp:nvSpPr>
        <dsp:cNvPr id="0" name=""/>
        <dsp:cNvSpPr/>
      </dsp:nvSpPr>
      <dsp:spPr>
        <a:xfrm>
          <a:off x="2985451" y="2968176"/>
          <a:ext cx="4287105" cy="5566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82550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300" kern="1200">
              <a:latin typeface="DM Sans"/>
            </a:rPr>
            <a:t>Disseminate recommendations and educate about safe sleep</a:t>
          </a:r>
        </a:p>
      </dsp:txBody>
      <dsp:txXfrm>
        <a:off x="2985451" y="2968176"/>
        <a:ext cx="4287105" cy="556693"/>
      </dsp:txXfrm>
    </dsp:sp>
    <dsp:sp modelId="{165656CC-241C-48F6-83A8-0DAB1014E2D6}">
      <dsp:nvSpPr>
        <dsp:cNvPr id="0" name=""/>
        <dsp:cNvSpPr/>
      </dsp:nvSpPr>
      <dsp:spPr>
        <a:xfrm>
          <a:off x="2855781" y="2676411"/>
          <a:ext cx="0" cy="1584435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F37D170-275F-4014-9B66-B38F55AA3F65}">
      <dsp:nvSpPr>
        <dsp:cNvPr id="0" name=""/>
        <dsp:cNvSpPr/>
      </dsp:nvSpPr>
      <dsp:spPr>
        <a:xfrm>
          <a:off x="2805679" y="2626309"/>
          <a:ext cx="100204" cy="10020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A087CE1-46CC-4FB3-B4AD-309234AAFE87}">
      <dsp:nvSpPr>
        <dsp:cNvPr id="0" name=""/>
        <dsp:cNvSpPr/>
      </dsp:nvSpPr>
      <dsp:spPr>
        <a:xfrm rot="8100000">
          <a:off x="5229016" y="616808"/>
          <a:ext cx="393641" cy="393641"/>
        </a:xfrm>
        <a:prstGeom prst="teardrop">
          <a:avLst>
            <a:gd name="adj" fmla="val 11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9DE9ED-74E6-4839-BD98-A4FBC8C08BD8}">
      <dsp:nvSpPr>
        <dsp:cNvPr id="0" name=""/>
        <dsp:cNvSpPr/>
      </dsp:nvSpPr>
      <dsp:spPr>
        <a:xfrm>
          <a:off x="5272746" y="660538"/>
          <a:ext cx="306181" cy="306181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2825D4A-7310-4E45-84A1-B6D6EFA9D41B}">
      <dsp:nvSpPr>
        <dsp:cNvPr id="0" name=""/>
        <dsp:cNvSpPr/>
      </dsp:nvSpPr>
      <dsp:spPr>
        <a:xfrm>
          <a:off x="5748041" y="1122232"/>
          <a:ext cx="4287105" cy="15844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45FA77-752E-4766-BC49-83928342663C}">
      <dsp:nvSpPr>
        <dsp:cNvPr id="0" name=""/>
        <dsp:cNvSpPr/>
      </dsp:nvSpPr>
      <dsp:spPr>
        <a:xfrm>
          <a:off x="5748041" y="565538"/>
          <a:ext cx="4287105" cy="5566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82550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300" kern="1200">
              <a:latin typeface="DM Sans"/>
            </a:rPr>
            <a:t>Endorse and model safe sleep practices and incorporate safe sleep education into orientation, annual competencies and ongoing education.</a:t>
          </a:r>
          <a:endParaRPr lang="en-US" sz="1300" kern="1200"/>
        </a:p>
      </dsp:txBody>
      <dsp:txXfrm>
        <a:off x="5748041" y="565538"/>
        <a:ext cx="4287105" cy="556693"/>
      </dsp:txXfrm>
    </dsp:sp>
    <dsp:sp modelId="{F78D1BE8-6314-4CBF-82F2-7A3ECA21C592}">
      <dsp:nvSpPr>
        <dsp:cNvPr id="0" name=""/>
        <dsp:cNvSpPr/>
      </dsp:nvSpPr>
      <dsp:spPr>
        <a:xfrm>
          <a:off x="5425837" y="1091975"/>
          <a:ext cx="0" cy="1584435"/>
        </a:xfrm>
        <a:prstGeom prst="line">
          <a:avLst/>
        </a:prstGeom>
        <a:noFill/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DEB2CF1-A372-4E04-BD92-5DA096699F16}">
      <dsp:nvSpPr>
        <dsp:cNvPr id="0" name=""/>
        <dsp:cNvSpPr/>
      </dsp:nvSpPr>
      <dsp:spPr>
        <a:xfrm>
          <a:off x="5375734" y="2626309"/>
          <a:ext cx="100204" cy="10020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6E60D1-F877-47D4-8B41-F856165E7A80}">
      <dsp:nvSpPr>
        <dsp:cNvPr id="0" name=""/>
        <dsp:cNvSpPr/>
      </dsp:nvSpPr>
      <dsp:spPr>
        <a:xfrm>
          <a:off x="54" y="191674"/>
          <a:ext cx="5259304" cy="8064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13792" rIns="199136" bIns="113792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>
              <a:latin typeface="DM Sans"/>
              <a:cs typeface="Calibri"/>
            </a:rPr>
            <a:t>Hospital Level Data form</a:t>
          </a:r>
        </a:p>
      </dsp:txBody>
      <dsp:txXfrm>
        <a:off x="54" y="191674"/>
        <a:ext cx="5259304" cy="806400"/>
      </dsp:txXfrm>
    </dsp:sp>
    <dsp:sp modelId="{9CDF1165-2B21-4627-8D70-B6E057345958}">
      <dsp:nvSpPr>
        <dsp:cNvPr id="0" name=""/>
        <dsp:cNvSpPr/>
      </dsp:nvSpPr>
      <dsp:spPr>
        <a:xfrm>
          <a:off x="54" y="998074"/>
          <a:ext cx="5259304" cy="3951084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99136" bIns="224028" numCol="1" spcCol="1270" anchor="t" anchorCtr="0">
          <a:noAutofit/>
        </a:bodyPr>
        <a:lstStyle/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>
              <a:latin typeface="DM Sans"/>
              <a:cs typeface="Calibri"/>
            </a:rPr>
            <a:t>Structure Measures 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>
              <a:latin typeface="DM Sans"/>
              <a:cs typeface="Calibri"/>
            </a:rPr>
            <a:t>Education Measures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>
              <a:latin typeface="DM Sans"/>
              <a:cs typeface="Calibri"/>
            </a:rPr>
            <a:t>Crib Audits</a:t>
          </a:r>
        </a:p>
      </dsp:txBody>
      <dsp:txXfrm>
        <a:off x="54" y="998074"/>
        <a:ext cx="5259304" cy="3951084"/>
      </dsp:txXfrm>
    </dsp:sp>
    <dsp:sp modelId="{72E90577-3D0A-44A9-802D-7402B1482B47}">
      <dsp:nvSpPr>
        <dsp:cNvPr id="0" name=""/>
        <dsp:cNvSpPr/>
      </dsp:nvSpPr>
      <dsp:spPr>
        <a:xfrm>
          <a:off x="5995661" y="191674"/>
          <a:ext cx="5259304" cy="8064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13792" rIns="199136" bIns="113792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>
              <a:latin typeface="DM Sans"/>
              <a:cs typeface="Calibri"/>
            </a:rPr>
            <a:t>Patient Level Data form</a:t>
          </a:r>
        </a:p>
      </dsp:txBody>
      <dsp:txXfrm>
        <a:off x="5995661" y="191674"/>
        <a:ext cx="5259304" cy="806400"/>
      </dsp:txXfrm>
    </dsp:sp>
    <dsp:sp modelId="{CF05495E-421B-40F8-91AB-BC717C052FA2}">
      <dsp:nvSpPr>
        <dsp:cNvPr id="0" name=""/>
        <dsp:cNvSpPr/>
      </dsp:nvSpPr>
      <dsp:spPr>
        <a:xfrm>
          <a:off x="5995661" y="998074"/>
          <a:ext cx="5259304" cy="3951084"/>
        </a:xfrm>
        <a:prstGeom prst="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99136" bIns="224028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>
              <a:latin typeface="DM Sans"/>
              <a:cs typeface="Calibri"/>
            </a:rPr>
            <a:t>Random sample of 20 newborns discharged each month​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>
              <a:latin typeface="DM Sans"/>
              <a:cs typeface="Calibri"/>
            </a:rPr>
            <a:t>Newborn and birthing person demographic data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>
              <a:latin typeface="DM Sans"/>
              <a:cs typeface="Calibri"/>
            </a:rPr>
            <a:t>Family safe sleep education​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>
              <a:latin typeface="DM Sans"/>
              <a:cs typeface="Calibri"/>
            </a:rPr>
            <a:t>Transfer of care documentation​</a:t>
          </a:r>
        </a:p>
      </dsp:txBody>
      <dsp:txXfrm>
        <a:off x="5995661" y="998074"/>
        <a:ext cx="5259304" cy="39510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7/3/layout/DropPinTimeline">
  <dgm:title val="Drop Pin Timeline"/>
  <dgm:desc val="Use to show a list of events in chronological order. An invisible box next to the pin contains the date and the description is immediately below. It can display a medium amount of text and medium length date format."/>
  <dgm:catLst>
    <dgm:cat type="timeline" pri="500"/>
    <dgm:cat type="process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">
    <dgm:varLst>
      <dgm:chMax/>
      <dgm:chPref/>
      <dgm:animLvl val="lvl"/>
    </dgm:varLst>
    <dgm:alg type="composite"/>
    <dgm:shape xmlns:r="http://schemas.openxmlformats.org/officeDocument/2006/relationships" r:blip="">
      <dgm:adjLst/>
    </dgm:shape>
    <dgm:constrLst>
      <dgm:constr type="w" for="ch" forName="divider" refType="w"/>
      <dgm:constr type="h" for="ch" forName="divider"/>
      <dgm:constr type="ctrY" for="ch" forName="divider" refType="h" fact="0.5"/>
      <dgm:constr type="l" for="ch" forName="divider"/>
      <dgm:constr type="w" for="ch" forName="nodes" refType="w"/>
      <dgm:constr type="h" for="ch" forName="nodes" refType="h" fact="0.8"/>
      <dgm:constr type="ctrY" for="ch" forName="nodes" refType="h" fact="0.5"/>
    </dgm:constrLst>
    <dgm:layoutNode name="divider" styleLbl="fgAcc1">
      <dgm:alg type="sp"/>
      <dgm:choose name="ArrowShape">
        <dgm:if name="ArrowShapeLTR" func="var" arg="dir" op="equ" val="norm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 w="19050">
                    <a:solidFill>
                      <a:srgbClr val="000000"/>
                    </a:solidFill>
                    <a:tailEnd type="triangle" w="lg" len="lg"/>
                  </a:ln>
                </dgm1612:spPr>
              </a:ext>
            </dgm:extLst>
          </dgm:shape>
        </dgm:if>
        <dgm:else name="ArrowShapeRTL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>
                    <a:solidFill>
                      <a:srgbClr val="000000"/>
                    </a:solidFill>
                    <a:headEnd type="triangle" w="lg" len="lg"/>
                  </a:ln>
                </dgm1612:spPr>
              </a:ext>
            </dgm:extLst>
          </dgm:shape>
        </dgm:else>
      </dgm:choose>
      <dgm:presOf/>
      <dgm:constrLst/>
      <dgm:ruleLst/>
    </dgm:layoutNode>
    <dgm:layoutNode name="nodes">
      <dgm:varLst>
        <dgm:chMax/>
        <dgm:chPref/>
        <dgm:animLvl val="lvl"/>
      </dgm:varLst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constrLst>
        <dgm:constr type="primFontSz" for="des" forName="L1TextContainer" val="20"/>
        <dgm:constr type="primFontSz" for="des" forName="L2TextContainer" refType="primFontSz" refFor="des" refForName="L1TextContainer" op="equ" fact="0.75"/>
        <dgm:constr type="w" for="ch" forName="composite" refType="w"/>
        <dgm:constr type="h" for="ch" forName="composite" refType="h"/>
        <dgm:constr type="w" for="ch" forName="spaceBetweenRectangles" refType="w" refFor="ch" refForName="composite" fact="-0.5"/>
        <dgm:constr type="w" for="ch" ptType="sibTrans" op="equ"/>
        <dgm:constr type="primFontSz" for="des" forName="L1TextContainer" op="equ"/>
        <dgm:constr type="primFontSz" for="des" forName="L2TextContainer" op="equ"/>
        <dgm:constr type="primFontSz" for="des" forName="L1TextContainer1" val="20"/>
        <dgm:constr type="primFontSz" for="des" forName="L2TextContainer1" refType="primFontSz" refFor="des" refForName="L1TextContainer1" op="equ" fact="0.75"/>
        <dgm:constr type="w" for="ch" forName="composite1" refType="w"/>
        <dgm:constr type="h" for="ch" forName="composite1" refType="h"/>
        <dgm:constr type="w" for="ch" forName="spaceBetweenRectangles1" refType="w" refFor="ch" refForName="composite1" fact="0.28"/>
        <dgm:constr type="primFontSz" for="des" forName="L1TextContainer1" op="equ"/>
        <dgm:constr type="primFontSz" for="des" forName="L2TextContainer1" op="equ"/>
      </dgm:constrLst>
      <dgm:choose name="LayoutBasedOnCountOfNodes">
        <dgm:if name="LessThanOrEqualToTwoNodes" axis="ch" ptType="node" func="cnt" op="lte" val="2">
          <dgm:forEach name="nodesForEach1" axis="ch" ptType="node">
            <dgm:layoutNode name="composite1">
              <dgm:alg type="composite"/>
              <dgm:shape xmlns:r="http://schemas.openxmlformats.org/officeDocument/2006/relationships" r:blip="">
                <dgm:adjLst/>
              </dgm:shape>
              <dgm:choose name="CaseForLayoutDirection1">
                <dgm:if name="CaseForLayoutDirectionLTR1" func="var" arg="dir" op="equ" val="norm">
                  <dgm:choose name="CaseForPlacingNodesAboveAndBelowDividerLTR1">
                    <dgm:if name="CaseForPlacingNodeAboveDividerLTR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LTR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if>
                <dgm:else name="CaseForLayoutDirectionRTL1">
                  <dgm:choose name="CaseForPlacingNodesAboveAndBelowDividerRTL1">
                    <dgm:if name="CaseForPlacingNodeAboveDividerRTL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RTL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else>
              </dgm:choose>
              <dgm:layoutNode name="ConnectorPoint1" styleLbl="lnNode1" moveWith="ConnectLine1">
                <dgm:alg type="sp"/>
                <dgm:shape xmlns:r="http://schemas.openxmlformats.org/officeDocument/2006/relationships" type="ellipse" r:blip="" zOrderOff="10">
                  <dgm:adjLst/>
                </dgm:shape>
                <dgm:presOf/>
                <dgm:constrLst>
                  <dgm:constr type="w" refType="h" op="equ"/>
                </dgm:constrLst>
              </dgm:layoutNode>
              <dgm:layoutNode name="DropPinPlaceHolder1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1" refType="w"/>
                  <dgm:constr type="h" for="ch" forName="DropPin1" refType="h"/>
                  <dgm:constr type="ctrX" for="ch" forName="DropPin1" refType="w" fact="0.5"/>
                  <dgm:constr type="ctrY" for="ch" forName="DropPin1" refType="h" fact="0.5"/>
                  <dgm:constr type="w" for="ch" forName="Ellipse1" refType="w" refFor="ch" refForName="DropPin1" fact="0.55"/>
                  <dgm:constr type="h" for="ch" forName="Ellipse1" refType="w" refFor="ch" refForName="DropPin1" fact="0.55"/>
                  <dgm:constr type="ctrX" for="ch" forName="Ellipse1" refType="ctrX" refFor="ch" refForName="DropPin1"/>
                  <dgm:constr type="ctrY" for="ch" forName="Ellipse1" refType="ctrY" refFor="ch" refForName="DropPin1"/>
                </dgm:constrLst>
                <dgm:layoutNode name="DropPin1" styleLbl="alignNode1">
                  <dgm:alg type="sp"/>
                  <dgm:choose name="CaseForPlacingTearDropAboveAndBelowDivider1">
                    <dgm:if name="CaseForPlacingTearDropAboveDivider1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1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1" styleLbl="fgAcc1" moveWith="DropPin1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1" styleLbl="revTx" moveWith="L1TextContainer">
                <dgm:varLst>
                  <dgm:bulletEnabled val="1"/>
                </dgm:varLst>
                <dgm:choose name="casesForTxtDirLogic1">
                  <dgm:if name="Name771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5"/>
                      <dgm:constr type="bMarg" refType="primFontSz" fact="0.75"/>
                    </dgm:constrLst>
                  </dgm:if>
                  <dgm:else name="Name881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1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1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1" axis="followSib" ptType="sibTrans" cnt="1">
              <dgm:layoutNode name="spaceBetweenRectangles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if>
        <dgm:else name="MoreThanTwoNodes">
          <dgm:forEach name="nodesForEach" axis="ch" ptType="node">
            <dgm:layoutNode name="composite">
              <dgm:alg type="composite"/>
              <dgm:shape xmlns:r="http://schemas.openxmlformats.org/officeDocument/2006/relationships" r:blip="">
                <dgm:adjLst/>
              </dgm:shape>
              <dgm:choose name="CaseForLayoutDirection">
                <dgm:if name="CaseForLayoutDirectionLTR" func="var" arg="dir" op="equ" val="norm">
                  <dgm:choose name="CaseForPlacingNodesAboveAndBelowDividerLTR">
                    <dgm:if name="CaseForPlacingNodeAboveDividerLTR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LTR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if>
                <dgm:else name="CaseForLayoutDirectionRTL">
                  <dgm:choose name="CaseForPlacingNodesAboveAndBelowDividerRTL">
                    <dgm:if name="CaseForPlacingNodeAboveDividerRTL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RTL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else>
              </dgm:choose>
              <dgm:layoutNode name="ConnectorPoint" styleLbl="lnNode1" moveWith="ConnectLine">
                <dgm:alg type="sp"/>
                <dgm:shape xmlns:r="http://schemas.openxmlformats.org/officeDocument/2006/relationships" type="ellipse" r:blip="" zOrderOff="10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6350"/>
                      </dgm1612:spPr>
                    </a:ext>
                  </dgm:extLst>
                </dgm:shape>
                <dgm:presOf/>
                <dgm:constrLst>
                  <dgm:constr type="w" refType="h" op="equ"/>
                </dgm:constrLst>
              </dgm:layoutNode>
              <dgm:layoutNode name="DropPinPlaceHolder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" refType="w"/>
                  <dgm:constr type="h" for="ch" forName="DropPin" refType="h"/>
                  <dgm:constr type="ctrX" for="ch" forName="DropPin" refType="w" fact="0.5"/>
                  <dgm:constr type="ctrY" for="ch" forName="DropPin" refType="h" fact="0.5"/>
                  <dgm:constr type="w" for="ch" forName="Ellipse" refType="w" refFor="ch" refForName="DropPin" fact="0.55"/>
                  <dgm:constr type="h" for="ch" forName="Ellipse" refType="w" refFor="ch" refForName="DropPin" fact="0.55"/>
                  <dgm:constr type="ctrX" for="ch" forName="Ellipse" refType="ctrX" refFor="ch" refForName="DropPin"/>
                  <dgm:constr type="ctrY" for="ch" forName="Ellipse" refType="ctrY" refFor="ch" refForName="DropPin"/>
                </dgm:constrLst>
                <dgm:layoutNode name="DropPin" styleLbl="alignNode1">
                  <dgm:alg type="sp"/>
                  <dgm:choose name="CaseForPlacingTearDropAboveAndBelowDivider">
                    <dgm:if name="CaseForPlacingTearDropAboveDivider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" styleLbl="fgAcc1" moveWith="DropPin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" styleLbl="revTx" moveWith="L1TextContainer">
                <dgm:varLst>
                  <dgm:bulletEnabled val="1"/>
                </dgm:varLst>
                <dgm:choose name="casesForTxtDirLogic">
                  <dgm:if name="Name77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5"/>
                      <dgm:constr type="bMarg" refType="primFontSz" fact="0.75"/>
                    </dgm:constrLst>
                  </dgm:if>
                  <dgm:else name="Name88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" axis="followSib" ptType="sibTrans" cnt="1">
              <dgm:layoutNode name="spaceBetweenRectangles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else>
      </dgm:choose>
    </dgm:layoutNode>
  </dgm:layoutNode>
  <dgm:extLst>
    <a:ext uri="{68A01E43-0DF5-4B5B-8FA6-DAF915123BFB}">
      <dgm1612:lstStyle xmlns:dgm1612="http://schemas.microsoft.com/office/drawing/2016/12/diagram">
        <a:lvl1pPr>
          <a:defRPr b="1"/>
        </a:lvl1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5BBA65-082A-4B12-8C12-008467D70980}" type="datetimeFigureOut">
              <a:t>4/15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92C71E-C066-413C-8B82-ED7EB3E3A740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330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rldefense.com/v3/__https:/www.rush.edu/sites/default/files/media-documents/suid-report-20-21.pdf__;!!M0gZt9BicGig!i6iC9Ja2Bc726-skWXWiYbhxS9lBe_FFIfizr_ippqDOxq4i9QsbBfSANAO2-UgVyyBbV421XKH_gtX4wJu8P-x-eJqBlw$" TargetMode="External"/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>
              <a:cs typeface="Calibri"/>
            </a:endParaRPr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E33F94C-C7C4-40F1-8D43-2A90996B2406}" type="slidenum">
              <a:rPr lang="en-US" altLang="en-US">
                <a:latin typeface="Calibri" pitchFamily="34" charset="0"/>
              </a:rPr>
              <a:pPr/>
              <a:t>3</a:t>
            </a:fld>
            <a:endParaRPr lang="en-US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62733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0486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8052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643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87" name="Google Shape;12687;p119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12688" name="Google Shape;12688;p11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445910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3694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00203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30B010-FF72-F22C-89F5-6F969D8952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FBDAC9-7258-171C-50F1-43D1301BBF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B4A6D2-AE17-E5D3-89D8-CFCA2DF125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8F5BFF-47B7-6110-D5DA-510AAD240A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B47C4E-2555-48D5-B810-2EFF142F540E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77280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0" name="Google Shape;12720;p11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21" name="Google Shape;12721;p119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722" name="Google Shape;12722;p119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59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83608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52" name="Google Shape;11952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953" name="Google Shape;11953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339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3559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fontAlgn="base"/>
            <a:r>
              <a:rPr lang="en-US" sz="1800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We are writing to share our second annual report from the CDC-funded </a:t>
            </a:r>
            <a:r>
              <a:rPr lang="en-US" sz="1800" b="1" i="0">
                <a:solidFill>
                  <a:srgbClr val="000000"/>
                </a:solidFill>
                <a:effectLst/>
                <a:latin typeface="Aptos" panose="020B0004020202020204" pitchFamily="34" charset="0"/>
                <a:hlinkClick r:id="rId3" tooltip="https://www.rush.edu/sites/default/files/media-documents/suid-report-20-21.pdf"/>
              </a:rPr>
              <a:t>Sudden Unexpected Infant Death (SUID) Case Registry for Cook County</a:t>
            </a:r>
            <a:r>
              <a:rPr lang="en-US" sz="1800" b="1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. </a:t>
            </a:r>
            <a:endParaRPr lang="en-US" b="0" i="0">
              <a:solidFill>
                <a:srgbClr val="242424"/>
              </a:solidFill>
              <a:effectLst/>
              <a:latin typeface="Segoe UI" panose="020B0502040204020203" pitchFamily="34" charset="0"/>
            </a:endParaRPr>
          </a:p>
          <a:p>
            <a:pPr algn="l" fontAlgn="base"/>
            <a:br>
              <a:rPr lang="en-US" sz="1800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</a:br>
            <a:endParaRPr lang="en-US" b="0" i="0">
              <a:solidFill>
                <a:srgbClr val="242424"/>
              </a:solidFill>
              <a:effectLst/>
              <a:latin typeface="Segoe UI" panose="020B0502040204020203" pitchFamily="34" charset="0"/>
            </a:endParaRPr>
          </a:p>
          <a:p>
            <a:pPr algn="l" fontAlgn="base"/>
            <a:r>
              <a:rPr lang="en-US" sz="1800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This report provides data on all of Cook County's SUIDs from 2020-2021, and is derived from data sources including the Cook County Medical Examiner's Office death scene investigation, case records and autopsy; DCFS investigation; and SUID categorization determined through a CDC-defined process during Child Death Review meetings.</a:t>
            </a:r>
            <a:endParaRPr lang="en-US" b="0" i="0">
              <a:solidFill>
                <a:srgbClr val="242424"/>
              </a:solidFill>
              <a:effectLst/>
              <a:latin typeface="Segoe UI" panose="020B0502040204020203" pitchFamily="34" charset="0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1273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 dirty="0"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3321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3841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33385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6" Type="http://schemas.openxmlformats.org/officeDocument/2006/relationships/image" Target="../media/image41.emf"/><Relationship Id="rId5" Type="http://schemas.openxmlformats.org/officeDocument/2006/relationships/image" Target="../media/image40.emf"/><Relationship Id="rId4" Type="http://schemas.openxmlformats.org/officeDocument/2006/relationships/image" Target="../media/image39.emf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2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9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4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39.emf"/><Relationship Id="rId4" Type="http://schemas.openxmlformats.org/officeDocument/2006/relationships/oleObject" Target="../embeddings/oleObject4.bin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41.emf"/><Relationship Id="rId5" Type="http://schemas.openxmlformats.org/officeDocument/2006/relationships/image" Target="../media/image40.emf"/><Relationship Id="rId4" Type="http://schemas.openxmlformats.org/officeDocument/2006/relationships/image" Target="../media/image39.emf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2.jpe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39.emf"/><Relationship Id="rId4" Type="http://schemas.openxmlformats.org/officeDocument/2006/relationships/oleObject" Target="../embeddings/oleObject7.bin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2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2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2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2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4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39.emf"/><Relationship Id="rId4" Type="http://schemas.openxmlformats.org/officeDocument/2006/relationships/oleObject" Target="../embeddings/oleObject9.bin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2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2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2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2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2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553818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84537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90163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184010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30006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648636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070544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77965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773903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80203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220884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907002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64918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862656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653802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84767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64941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93612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43755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583285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984267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938656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6573187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318294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85414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1998685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783973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2443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5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28563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1959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32907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27465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6941429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32230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39369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58950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5348527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9587065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2882524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9923806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86218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38520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424913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43896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87178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69449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35050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984913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159562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97272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25165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192638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866692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6033178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092253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584172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59617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631518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526769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7529749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66321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77402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3459419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563152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0131789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0028810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37610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9288645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15937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55057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7704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57427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471929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582785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0448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7842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09804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94527636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02146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98958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6454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8230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498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7953721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82802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4862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12254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6205469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5529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9053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1214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192097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0442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852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6629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5676071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4941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42847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70216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71306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980540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17966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49333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749776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35532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0145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6188074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19786099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916879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5811283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63513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236013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868132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7929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9783795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7309733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195552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32453738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874233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914057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8423028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4/15/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4/15/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771967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5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5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oogle Shape;43;p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" name="Google Shape;44;p3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" name="Google Shape;45;p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" name="Google Shape;46;p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47;p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" name="Google Shape;48;p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" name="Google Shape;51;p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" name="Google Shape;52;p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72652782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5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8841809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80660955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44674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68296633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677796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011711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36372206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031328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0270537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4/15/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14610509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23" indent="0">
              <a:buNone/>
              <a:defRPr sz="1200"/>
            </a:lvl2pPr>
            <a:lvl3pPr marL="914446" indent="0">
              <a:buNone/>
              <a:defRPr sz="1000"/>
            </a:lvl3pPr>
            <a:lvl4pPr marL="1371669" indent="0">
              <a:buNone/>
              <a:defRPr sz="900"/>
            </a:lvl4pPr>
            <a:lvl5pPr marL="1828891" indent="0">
              <a:buNone/>
              <a:defRPr sz="900"/>
            </a:lvl5pPr>
            <a:lvl6pPr marL="2286114" indent="0">
              <a:buNone/>
              <a:defRPr sz="900"/>
            </a:lvl6pPr>
            <a:lvl7pPr marL="2743337" indent="0">
              <a:buNone/>
              <a:defRPr sz="900"/>
            </a:lvl7pPr>
            <a:lvl8pPr marL="3200560" indent="0">
              <a:buNone/>
              <a:defRPr sz="900"/>
            </a:lvl8pPr>
            <a:lvl9pPr marL="36577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4/15/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0515904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53644344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6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653374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48345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854968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3003970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6479413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89622913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36188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20332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1105823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5772397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901327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52467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30550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744679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38498237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36365882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8656322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30473943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550117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5824695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6376476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43775063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34956318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16851664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2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0" y="533969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900" indent="0">
              <a:buNone/>
              <a:defRPr b="1">
                <a:solidFill>
                  <a:srgbClr val="8C2347"/>
                </a:solidFill>
              </a:defRPr>
            </a:lvl2pPr>
            <a:lvl3pPr marL="685800" indent="0">
              <a:buNone/>
              <a:defRPr b="1">
                <a:solidFill>
                  <a:srgbClr val="8C2347"/>
                </a:solidFill>
              </a:defRPr>
            </a:lvl3pPr>
            <a:lvl4pPr marL="1028700" indent="0">
              <a:buNone/>
              <a:defRPr b="1">
                <a:solidFill>
                  <a:srgbClr val="8C2347"/>
                </a:solidFill>
              </a:defRPr>
            </a:lvl4pPr>
            <a:lvl5pPr marL="13716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4" y="5955178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sp>
        <p:nvSpPr>
          <p:cNvPr id="5" name="Rectangle 4"/>
          <p:cNvSpPr/>
          <p:nvPr userDrawn="1"/>
        </p:nvSpPr>
        <p:spPr>
          <a:xfrm>
            <a:off x="9815334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7" y="317115"/>
            <a:ext cx="1653863" cy="57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985061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Title (Logo 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1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19" y="533967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457200" indent="0">
              <a:buNone/>
              <a:defRPr b="1">
                <a:solidFill>
                  <a:srgbClr val="8C2347"/>
                </a:solidFill>
              </a:defRPr>
            </a:lvl2pPr>
            <a:lvl3pPr marL="914400" indent="0">
              <a:buNone/>
              <a:defRPr b="1">
                <a:solidFill>
                  <a:srgbClr val="8C2347"/>
                </a:solidFill>
              </a:defRPr>
            </a:lvl3pPr>
            <a:lvl4pPr marL="1371600" indent="0">
              <a:buNone/>
              <a:defRPr b="1">
                <a:solidFill>
                  <a:srgbClr val="8C2347"/>
                </a:solidFill>
              </a:defRPr>
            </a:lvl4pPr>
            <a:lvl5pPr marL="18288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3" y="5694745"/>
            <a:ext cx="2376668" cy="1163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00619" y="1359436"/>
            <a:ext cx="10768892" cy="4982097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"/>
                <a:ea typeface="Times New Roman" charset="0"/>
                <a:cs typeface="Arial"/>
              </a:defRPr>
            </a:lvl1pPr>
            <a:lvl2pPr marL="4572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4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6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8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/>
              <a:t>Sample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84217909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887864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5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41554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2132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5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3240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8667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6548194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480101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0791457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77585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72880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5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551946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0323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412566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58452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1609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87609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81573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137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1480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85383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5/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881001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4774073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9584940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21793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2912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74134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04704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44612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3249338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452800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5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843481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47930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59260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8563667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406554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501661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242777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5473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7271009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624303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15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8803676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34211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05477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05277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786297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687718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88990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10752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469885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612018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32.xml"/><Relationship Id="rId299" Type="http://schemas.openxmlformats.org/officeDocument/2006/relationships/slideLayout" Target="../slideLayouts/slideLayout314.xml"/><Relationship Id="rId21" Type="http://schemas.openxmlformats.org/officeDocument/2006/relationships/slideLayout" Target="../slideLayouts/slideLayout36.xml"/><Relationship Id="rId63" Type="http://schemas.openxmlformats.org/officeDocument/2006/relationships/slideLayout" Target="../slideLayouts/slideLayout78.xml"/><Relationship Id="rId159" Type="http://schemas.openxmlformats.org/officeDocument/2006/relationships/slideLayout" Target="../slideLayouts/slideLayout174.xml"/><Relationship Id="rId324" Type="http://schemas.openxmlformats.org/officeDocument/2006/relationships/slideLayout" Target="../slideLayouts/slideLayout339.xml"/><Relationship Id="rId366" Type="http://schemas.openxmlformats.org/officeDocument/2006/relationships/slideLayout" Target="../slideLayouts/slideLayout381.xml"/><Relationship Id="rId170" Type="http://schemas.openxmlformats.org/officeDocument/2006/relationships/slideLayout" Target="../slideLayouts/slideLayout185.xml"/><Relationship Id="rId226" Type="http://schemas.openxmlformats.org/officeDocument/2006/relationships/slideLayout" Target="../slideLayouts/slideLayout241.xml"/><Relationship Id="rId433" Type="http://schemas.openxmlformats.org/officeDocument/2006/relationships/slideLayout" Target="../slideLayouts/slideLayout448.xml"/><Relationship Id="rId268" Type="http://schemas.openxmlformats.org/officeDocument/2006/relationships/slideLayout" Target="../slideLayouts/slideLayout283.xml"/><Relationship Id="rId32" Type="http://schemas.openxmlformats.org/officeDocument/2006/relationships/slideLayout" Target="../slideLayouts/slideLayout47.xml"/><Relationship Id="rId74" Type="http://schemas.openxmlformats.org/officeDocument/2006/relationships/slideLayout" Target="../slideLayouts/slideLayout89.xml"/><Relationship Id="rId128" Type="http://schemas.openxmlformats.org/officeDocument/2006/relationships/slideLayout" Target="../slideLayouts/slideLayout143.xml"/><Relationship Id="rId335" Type="http://schemas.openxmlformats.org/officeDocument/2006/relationships/slideLayout" Target="../slideLayouts/slideLayout350.xml"/><Relationship Id="rId377" Type="http://schemas.openxmlformats.org/officeDocument/2006/relationships/slideLayout" Target="../slideLayouts/slideLayout392.xml"/><Relationship Id="rId5" Type="http://schemas.openxmlformats.org/officeDocument/2006/relationships/slideLayout" Target="../slideLayouts/slideLayout20.xml"/><Relationship Id="rId181" Type="http://schemas.openxmlformats.org/officeDocument/2006/relationships/slideLayout" Target="../slideLayouts/slideLayout196.xml"/><Relationship Id="rId237" Type="http://schemas.openxmlformats.org/officeDocument/2006/relationships/slideLayout" Target="../slideLayouts/slideLayout252.xml"/><Relationship Id="rId402" Type="http://schemas.openxmlformats.org/officeDocument/2006/relationships/slideLayout" Target="../slideLayouts/slideLayout417.xml"/><Relationship Id="rId279" Type="http://schemas.openxmlformats.org/officeDocument/2006/relationships/slideLayout" Target="../slideLayouts/slideLayout294.xml"/><Relationship Id="rId444" Type="http://schemas.openxmlformats.org/officeDocument/2006/relationships/slideLayout" Target="../slideLayouts/slideLayout459.xml"/><Relationship Id="rId43" Type="http://schemas.openxmlformats.org/officeDocument/2006/relationships/slideLayout" Target="../slideLayouts/slideLayout58.xml"/><Relationship Id="rId139" Type="http://schemas.openxmlformats.org/officeDocument/2006/relationships/slideLayout" Target="../slideLayouts/slideLayout154.xml"/><Relationship Id="rId290" Type="http://schemas.openxmlformats.org/officeDocument/2006/relationships/slideLayout" Target="../slideLayouts/slideLayout305.xml"/><Relationship Id="rId304" Type="http://schemas.openxmlformats.org/officeDocument/2006/relationships/slideLayout" Target="../slideLayouts/slideLayout319.xml"/><Relationship Id="rId346" Type="http://schemas.openxmlformats.org/officeDocument/2006/relationships/slideLayout" Target="../slideLayouts/slideLayout361.xml"/><Relationship Id="rId388" Type="http://schemas.openxmlformats.org/officeDocument/2006/relationships/slideLayout" Target="../slideLayouts/slideLayout403.xml"/><Relationship Id="rId85" Type="http://schemas.openxmlformats.org/officeDocument/2006/relationships/slideLayout" Target="../slideLayouts/slideLayout100.xml"/><Relationship Id="rId150" Type="http://schemas.openxmlformats.org/officeDocument/2006/relationships/slideLayout" Target="../slideLayouts/slideLayout165.xml"/><Relationship Id="rId192" Type="http://schemas.openxmlformats.org/officeDocument/2006/relationships/slideLayout" Target="../slideLayouts/slideLayout207.xml"/><Relationship Id="rId206" Type="http://schemas.openxmlformats.org/officeDocument/2006/relationships/slideLayout" Target="../slideLayouts/slideLayout221.xml"/><Relationship Id="rId413" Type="http://schemas.openxmlformats.org/officeDocument/2006/relationships/slideLayout" Target="../slideLayouts/slideLayout428.xml"/><Relationship Id="rId248" Type="http://schemas.openxmlformats.org/officeDocument/2006/relationships/slideLayout" Target="../slideLayouts/slideLayout263.xml"/><Relationship Id="rId455" Type="http://schemas.openxmlformats.org/officeDocument/2006/relationships/slideLayout" Target="../slideLayouts/slideLayout470.xml"/><Relationship Id="rId12" Type="http://schemas.openxmlformats.org/officeDocument/2006/relationships/slideLayout" Target="../slideLayouts/slideLayout27.xml"/><Relationship Id="rId108" Type="http://schemas.openxmlformats.org/officeDocument/2006/relationships/slideLayout" Target="../slideLayouts/slideLayout123.xml"/><Relationship Id="rId315" Type="http://schemas.openxmlformats.org/officeDocument/2006/relationships/slideLayout" Target="../slideLayouts/slideLayout330.xml"/><Relationship Id="rId357" Type="http://schemas.openxmlformats.org/officeDocument/2006/relationships/slideLayout" Target="../slideLayouts/slideLayout372.xml"/><Relationship Id="rId54" Type="http://schemas.openxmlformats.org/officeDocument/2006/relationships/slideLayout" Target="../slideLayouts/slideLayout69.xml"/><Relationship Id="rId96" Type="http://schemas.openxmlformats.org/officeDocument/2006/relationships/slideLayout" Target="../slideLayouts/slideLayout111.xml"/><Relationship Id="rId161" Type="http://schemas.openxmlformats.org/officeDocument/2006/relationships/slideLayout" Target="../slideLayouts/slideLayout176.xml"/><Relationship Id="rId217" Type="http://schemas.openxmlformats.org/officeDocument/2006/relationships/slideLayout" Target="../slideLayouts/slideLayout232.xml"/><Relationship Id="rId399" Type="http://schemas.openxmlformats.org/officeDocument/2006/relationships/slideLayout" Target="../slideLayouts/slideLayout414.xml"/><Relationship Id="rId259" Type="http://schemas.openxmlformats.org/officeDocument/2006/relationships/slideLayout" Target="../slideLayouts/slideLayout274.xml"/><Relationship Id="rId424" Type="http://schemas.openxmlformats.org/officeDocument/2006/relationships/slideLayout" Target="../slideLayouts/slideLayout439.xml"/><Relationship Id="rId466" Type="http://schemas.openxmlformats.org/officeDocument/2006/relationships/slideLayout" Target="../slideLayouts/slideLayout481.xml"/><Relationship Id="rId23" Type="http://schemas.openxmlformats.org/officeDocument/2006/relationships/slideLayout" Target="../slideLayouts/slideLayout38.xml"/><Relationship Id="rId119" Type="http://schemas.openxmlformats.org/officeDocument/2006/relationships/slideLayout" Target="../slideLayouts/slideLayout134.xml"/><Relationship Id="rId270" Type="http://schemas.openxmlformats.org/officeDocument/2006/relationships/slideLayout" Target="../slideLayouts/slideLayout285.xml"/><Relationship Id="rId326" Type="http://schemas.openxmlformats.org/officeDocument/2006/relationships/slideLayout" Target="../slideLayouts/slideLayout341.xml"/><Relationship Id="rId65" Type="http://schemas.openxmlformats.org/officeDocument/2006/relationships/slideLayout" Target="../slideLayouts/slideLayout80.xml"/><Relationship Id="rId130" Type="http://schemas.openxmlformats.org/officeDocument/2006/relationships/slideLayout" Target="../slideLayouts/slideLayout145.xml"/><Relationship Id="rId368" Type="http://schemas.openxmlformats.org/officeDocument/2006/relationships/slideLayout" Target="../slideLayouts/slideLayout383.xml"/><Relationship Id="rId172" Type="http://schemas.openxmlformats.org/officeDocument/2006/relationships/slideLayout" Target="../slideLayouts/slideLayout187.xml"/><Relationship Id="rId228" Type="http://schemas.openxmlformats.org/officeDocument/2006/relationships/slideLayout" Target="../slideLayouts/slideLayout243.xml"/><Relationship Id="rId435" Type="http://schemas.openxmlformats.org/officeDocument/2006/relationships/slideLayout" Target="../slideLayouts/slideLayout450.xml"/><Relationship Id="rId281" Type="http://schemas.openxmlformats.org/officeDocument/2006/relationships/slideLayout" Target="../slideLayouts/slideLayout296.xml"/><Relationship Id="rId337" Type="http://schemas.openxmlformats.org/officeDocument/2006/relationships/slideLayout" Target="../slideLayouts/slideLayout352.xml"/><Relationship Id="rId34" Type="http://schemas.openxmlformats.org/officeDocument/2006/relationships/slideLayout" Target="../slideLayouts/slideLayout49.xml"/><Relationship Id="rId76" Type="http://schemas.openxmlformats.org/officeDocument/2006/relationships/slideLayout" Target="../slideLayouts/slideLayout91.xml"/><Relationship Id="rId141" Type="http://schemas.openxmlformats.org/officeDocument/2006/relationships/slideLayout" Target="../slideLayouts/slideLayout156.xml"/><Relationship Id="rId379" Type="http://schemas.openxmlformats.org/officeDocument/2006/relationships/slideLayout" Target="../slideLayouts/slideLayout394.xml"/><Relationship Id="rId7" Type="http://schemas.openxmlformats.org/officeDocument/2006/relationships/slideLayout" Target="../slideLayouts/slideLayout22.xml"/><Relationship Id="rId183" Type="http://schemas.openxmlformats.org/officeDocument/2006/relationships/slideLayout" Target="../slideLayouts/slideLayout198.xml"/><Relationship Id="rId239" Type="http://schemas.openxmlformats.org/officeDocument/2006/relationships/slideLayout" Target="../slideLayouts/slideLayout254.xml"/><Relationship Id="rId390" Type="http://schemas.openxmlformats.org/officeDocument/2006/relationships/slideLayout" Target="../slideLayouts/slideLayout405.xml"/><Relationship Id="rId404" Type="http://schemas.openxmlformats.org/officeDocument/2006/relationships/slideLayout" Target="../slideLayouts/slideLayout419.xml"/><Relationship Id="rId446" Type="http://schemas.openxmlformats.org/officeDocument/2006/relationships/slideLayout" Target="../slideLayouts/slideLayout461.xml"/><Relationship Id="rId250" Type="http://schemas.openxmlformats.org/officeDocument/2006/relationships/slideLayout" Target="../slideLayouts/slideLayout265.xml"/><Relationship Id="rId292" Type="http://schemas.openxmlformats.org/officeDocument/2006/relationships/slideLayout" Target="../slideLayouts/slideLayout307.xml"/><Relationship Id="rId306" Type="http://schemas.openxmlformats.org/officeDocument/2006/relationships/slideLayout" Target="../slideLayouts/slideLayout321.xml"/><Relationship Id="rId45" Type="http://schemas.openxmlformats.org/officeDocument/2006/relationships/slideLayout" Target="../slideLayouts/slideLayout60.xml"/><Relationship Id="rId87" Type="http://schemas.openxmlformats.org/officeDocument/2006/relationships/slideLayout" Target="../slideLayouts/slideLayout102.xml"/><Relationship Id="rId110" Type="http://schemas.openxmlformats.org/officeDocument/2006/relationships/slideLayout" Target="../slideLayouts/slideLayout125.xml"/><Relationship Id="rId348" Type="http://schemas.openxmlformats.org/officeDocument/2006/relationships/slideLayout" Target="../slideLayouts/slideLayout363.xml"/><Relationship Id="rId152" Type="http://schemas.openxmlformats.org/officeDocument/2006/relationships/slideLayout" Target="../slideLayouts/slideLayout167.xml"/><Relationship Id="rId194" Type="http://schemas.openxmlformats.org/officeDocument/2006/relationships/slideLayout" Target="../slideLayouts/slideLayout209.xml"/><Relationship Id="rId208" Type="http://schemas.openxmlformats.org/officeDocument/2006/relationships/slideLayout" Target="../slideLayouts/slideLayout223.xml"/><Relationship Id="rId415" Type="http://schemas.openxmlformats.org/officeDocument/2006/relationships/slideLayout" Target="../slideLayouts/slideLayout430.xml"/><Relationship Id="rId457" Type="http://schemas.openxmlformats.org/officeDocument/2006/relationships/slideLayout" Target="../slideLayouts/slideLayout472.xml"/><Relationship Id="rId261" Type="http://schemas.openxmlformats.org/officeDocument/2006/relationships/slideLayout" Target="../slideLayouts/slideLayout276.xml"/><Relationship Id="rId14" Type="http://schemas.openxmlformats.org/officeDocument/2006/relationships/slideLayout" Target="../slideLayouts/slideLayout29.xml"/><Relationship Id="rId56" Type="http://schemas.openxmlformats.org/officeDocument/2006/relationships/slideLayout" Target="../slideLayouts/slideLayout71.xml"/><Relationship Id="rId317" Type="http://schemas.openxmlformats.org/officeDocument/2006/relationships/slideLayout" Target="../slideLayouts/slideLayout332.xml"/><Relationship Id="rId359" Type="http://schemas.openxmlformats.org/officeDocument/2006/relationships/slideLayout" Target="../slideLayouts/slideLayout374.xml"/><Relationship Id="rId98" Type="http://schemas.openxmlformats.org/officeDocument/2006/relationships/slideLayout" Target="../slideLayouts/slideLayout113.xml"/><Relationship Id="rId121" Type="http://schemas.openxmlformats.org/officeDocument/2006/relationships/slideLayout" Target="../slideLayouts/slideLayout136.xml"/><Relationship Id="rId163" Type="http://schemas.openxmlformats.org/officeDocument/2006/relationships/slideLayout" Target="../slideLayouts/slideLayout178.xml"/><Relationship Id="rId219" Type="http://schemas.openxmlformats.org/officeDocument/2006/relationships/slideLayout" Target="../slideLayouts/slideLayout234.xml"/><Relationship Id="rId370" Type="http://schemas.openxmlformats.org/officeDocument/2006/relationships/slideLayout" Target="../slideLayouts/slideLayout385.xml"/><Relationship Id="rId426" Type="http://schemas.openxmlformats.org/officeDocument/2006/relationships/slideLayout" Target="../slideLayouts/slideLayout441.xml"/><Relationship Id="rId230" Type="http://schemas.openxmlformats.org/officeDocument/2006/relationships/slideLayout" Target="../slideLayouts/slideLayout245.xml"/><Relationship Id="rId468" Type="http://schemas.openxmlformats.org/officeDocument/2006/relationships/theme" Target="../theme/theme2.xml"/><Relationship Id="rId25" Type="http://schemas.openxmlformats.org/officeDocument/2006/relationships/slideLayout" Target="../slideLayouts/slideLayout40.xml"/><Relationship Id="rId67" Type="http://schemas.openxmlformats.org/officeDocument/2006/relationships/slideLayout" Target="../slideLayouts/slideLayout82.xml"/><Relationship Id="rId272" Type="http://schemas.openxmlformats.org/officeDocument/2006/relationships/slideLayout" Target="../slideLayouts/slideLayout287.xml"/><Relationship Id="rId328" Type="http://schemas.openxmlformats.org/officeDocument/2006/relationships/slideLayout" Target="../slideLayouts/slideLayout343.xml"/><Relationship Id="rId132" Type="http://schemas.openxmlformats.org/officeDocument/2006/relationships/slideLayout" Target="../slideLayouts/slideLayout147.xml"/><Relationship Id="rId174" Type="http://schemas.openxmlformats.org/officeDocument/2006/relationships/slideLayout" Target="../slideLayouts/slideLayout189.xml"/><Relationship Id="rId381" Type="http://schemas.openxmlformats.org/officeDocument/2006/relationships/slideLayout" Target="../slideLayouts/slideLayout396.xml"/><Relationship Id="rId241" Type="http://schemas.openxmlformats.org/officeDocument/2006/relationships/slideLayout" Target="../slideLayouts/slideLayout256.xml"/><Relationship Id="rId437" Type="http://schemas.openxmlformats.org/officeDocument/2006/relationships/slideLayout" Target="../slideLayouts/slideLayout452.xml"/><Relationship Id="rId36" Type="http://schemas.openxmlformats.org/officeDocument/2006/relationships/slideLayout" Target="../slideLayouts/slideLayout51.xml"/><Relationship Id="rId283" Type="http://schemas.openxmlformats.org/officeDocument/2006/relationships/slideLayout" Target="../slideLayouts/slideLayout298.xml"/><Relationship Id="rId339" Type="http://schemas.openxmlformats.org/officeDocument/2006/relationships/slideLayout" Target="../slideLayouts/slideLayout354.xml"/><Relationship Id="rId78" Type="http://schemas.openxmlformats.org/officeDocument/2006/relationships/slideLayout" Target="../slideLayouts/slideLayout93.xml"/><Relationship Id="rId101" Type="http://schemas.openxmlformats.org/officeDocument/2006/relationships/slideLayout" Target="../slideLayouts/slideLayout116.xml"/><Relationship Id="rId143" Type="http://schemas.openxmlformats.org/officeDocument/2006/relationships/slideLayout" Target="../slideLayouts/slideLayout158.xml"/><Relationship Id="rId185" Type="http://schemas.openxmlformats.org/officeDocument/2006/relationships/slideLayout" Target="../slideLayouts/slideLayout200.xml"/><Relationship Id="rId350" Type="http://schemas.openxmlformats.org/officeDocument/2006/relationships/slideLayout" Target="../slideLayouts/slideLayout365.xml"/><Relationship Id="rId406" Type="http://schemas.openxmlformats.org/officeDocument/2006/relationships/slideLayout" Target="../slideLayouts/slideLayout421.xml"/><Relationship Id="rId9" Type="http://schemas.openxmlformats.org/officeDocument/2006/relationships/slideLayout" Target="../slideLayouts/slideLayout24.xml"/><Relationship Id="rId210" Type="http://schemas.openxmlformats.org/officeDocument/2006/relationships/slideLayout" Target="../slideLayouts/slideLayout225.xml"/><Relationship Id="rId392" Type="http://schemas.openxmlformats.org/officeDocument/2006/relationships/slideLayout" Target="../slideLayouts/slideLayout407.xml"/><Relationship Id="rId448" Type="http://schemas.openxmlformats.org/officeDocument/2006/relationships/slideLayout" Target="../slideLayouts/slideLayout463.xml"/><Relationship Id="rId252" Type="http://schemas.openxmlformats.org/officeDocument/2006/relationships/slideLayout" Target="../slideLayouts/slideLayout267.xml"/><Relationship Id="rId294" Type="http://schemas.openxmlformats.org/officeDocument/2006/relationships/slideLayout" Target="../slideLayouts/slideLayout309.xml"/><Relationship Id="rId308" Type="http://schemas.openxmlformats.org/officeDocument/2006/relationships/slideLayout" Target="../slideLayouts/slideLayout323.xml"/><Relationship Id="rId47" Type="http://schemas.openxmlformats.org/officeDocument/2006/relationships/slideLayout" Target="../slideLayouts/slideLayout62.xml"/><Relationship Id="rId89" Type="http://schemas.openxmlformats.org/officeDocument/2006/relationships/slideLayout" Target="../slideLayouts/slideLayout104.xml"/><Relationship Id="rId112" Type="http://schemas.openxmlformats.org/officeDocument/2006/relationships/slideLayout" Target="../slideLayouts/slideLayout127.xml"/><Relationship Id="rId154" Type="http://schemas.openxmlformats.org/officeDocument/2006/relationships/slideLayout" Target="../slideLayouts/slideLayout169.xml"/><Relationship Id="rId361" Type="http://schemas.openxmlformats.org/officeDocument/2006/relationships/slideLayout" Target="../slideLayouts/slideLayout376.xml"/><Relationship Id="rId196" Type="http://schemas.openxmlformats.org/officeDocument/2006/relationships/slideLayout" Target="../slideLayouts/slideLayout211.xml"/><Relationship Id="rId417" Type="http://schemas.openxmlformats.org/officeDocument/2006/relationships/slideLayout" Target="../slideLayouts/slideLayout432.xml"/><Relationship Id="rId459" Type="http://schemas.openxmlformats.org/officeDocument/2006/relationships/slideLayout" Target="../slideLayouts/slideLayout474.xml"/><Relationship Id="rId16" Type="http://schemas.openxmlformats.org/officeDocument/2006/relationships/slideLayout" Target="../slideLayouts/slideLayout31.xml"/><Relationship Id="rId221" Type="http://schemas.openxmlformats.org/officeDocument/2006/relationships/slideLayout" Target="../slideLayouts/slideLayout236.xml"/><Relationship Id="rId263" Type="http://schemas.openxmlformats.org/officeDocument/2006/relationships/slideLayout" Target="../slideLayouts/slideLayout278.xml"/><Relationship Id="rId319" Type="http://schemas.openxmlformats.org/officeDocument/2006/relationships/slideLayout" Target="../slideLayouts/slideLayout334.xml"/><Relationship Id="rId58" Type="http://schemas.openxmlformats.org/officeDocument/2006/relationships/slideLayout" Target="../slideLayouts/slideLayout73.xml"/><Relationship Id="rId123" Type="http://schemas.openxmlformats.org/officeDocument/2006/relationships/slideLayout" Target="../slideLayouts/slideLayout138.xml"/><Relationship Id="rId330" Type="http://schemas.openxmlformats.org/officeDocument/2006/relationships/slideLayout" Target="../slideLayouts/slideLayout345.xml"/><Relationship Id="rId165" Type="http://schemas.openxmlformats.org/officeDocument/2006/relationships/slideLayout" Target="../slideLayouts/slideLayout180.xml"/><Relationship Id="rId372" Type="http://schemas.openxmlformats.org/officeDocument/2006/relationships/slideLayout" Target="../slideLayouts/slideLayout387.xml"/><Relationship Id="rId428" Type="http://schemas.openxmlformats.org/officeDocument/2006/relationships/slideLayout" Target="../slideLayouts/slideLayout443.xml"/><Relationship Id="rId232" Type="http://schemas.openxmlformats.org/officeDocument/2006/relationships/slideLayout" Target="../slideLayouts/slideLayout247.xml"/><Relationship Id="rId274" Type="http://schemas.openxmlformats.org/officeDocument/2006/relationships/slideLayout" Target="../slideLayouts/slideLayout289.xml"/><Relationship Id="rId27" Type="http://schemas.openxmlformats.org/officeDocument/2006/relationships/slideLayout" Target="../slideLayouts/slideLayout42.xml"/><Relationship Id="rId69" Type="http://schemas.openxmlformats.org/officeDocument/2006/relationships/slideLayout" Target="../slideLayouts/slideLayout84.xml"/><Relationship Id="rId134" Type="http://schemas.openxmlformats.org/officeDocument/2006/relationships/slideLayout" Target="../slideLayouts/slideLayout149.xml"/><Relationship Id="rId80" Type="http://schemas.openxmlformats.org/officeDocument/2006/relationships/slideLayout" Target="../slideLayouts/slideLayout95.xml"/><Relationship Id="rId176" Type="http://schemas.openxmlformats.org/officeDocument/2006/relationships/slideLayout" Target="../slideLayouts/slideLayout191.xml"/><Relationship Id="rId341" Type="http://schemas.openxmlformats.org/officeDocument/2006/relationships/slideLayout" Target="../slideLayouts/slideLayout356.xml"/><Relationship Id="rId383" Type="http://schemas.openxmlformats.org/officeDocument/2006/relationships/slideLayout" Target="../slideLayouts/slideLayout398.xml"/><Relationship Id="rId439" Type="http://schemas.openxmlformats.org/officeDocument/2006/relationships/slideLayout" Target="../slideLayouts/slideLayout454.xml"/><Relationship Id="rId201" Type="http://schemas.openxmlformats.org/officeDocument/2006/relationships/slideLayout" Target="../slideLayouts/slideLayout216.xml"/><Relationship Id="rId243" Type="http://schemas.openxmlformats.org/officeDocument/2006/relationships/slideLayout" Target="../slideLayouts/slideLayout258.xml"/><Relationship Id="rId285" Type="http://schemas.openxmlformats.org/officeDocument/2006/relationships/slideLayout" Target="../slideLayouts/slideLayout300.xml"/><Relationship Id="rId450" Type="http://schemas.openxmlformats.org/officeDocument/2006/relationships/slideLayout" Target="../slideLayouts/slideLayout465.xml"/><Relationship Id="rId38" Type="http://schemas.openxmlformats.org/officeDocument/2006/relationships/slideLayout" Target="../slideLayouts/slideLayout53.xml"/><Relationship Id="rId103" Type="http://schemas.openxmlformats.org/officeDocument/2006/relationships/slideLayout" Target="../slideLayouts/slideLayout118.xml"/><Relationship Id="rId310" Type="http://schemas.openxmlformats.org/officeDocument/2006/relationships/slideLayout" Target="../slideLayouts/slideLayout325.xml"/><Relationship Id="rId91" Type="http://schemas.openxmlformats.org/officeDocument/2006/relationships/slideLayout" Target="../slideLayouts/slideLayout106.xml"/><Relationship Id="rId145" Type="http://schemas.openxmlformats.org/officeDocument/2006/relationships/slideLayout" Target="../slideLayouts/slideLayout160.xml"/><Relationship Id="rId187" Type="http://schemas.openxmlformats.org/officeDocument/2006/relationships/slideLayout" Target="../slideLayouts/slideLayout202.xml"/><Relationship Id="rId352" Type="http://schemas.openxmlformats.org/officeDocument/2006/relationships/slideLayout" Target="../slideLayouts/slideLayout367.xml"/><Relationship Id="rId394" Type="http://schemas.openxmlformats.org/officeDocument/2006/relationships/slideLayout" Target="../slideLayouts/slideLayout409.xml"/><Relationship Id="rId408" Type="http://schemas.openxmlformats.org/officeDocument/2006/relationships/slideLayout" Target="../slideLayouts/slideLayout423.xml"/><Relationship Id="rId212" Type="http://schemas.openxmlformats.org/officeDocument/2006/relationships/slideLayout" Target="../slideLayouts/slideLayout227.xml"/><Relationship Id="rId254" Type="http://schemas.openxmlformats.org/officeDocument/2006/relationships/slideLayout" Target="../slideLayouts/slideLayout269.xml"/><Relationship Id="rId49" Type="http://schemas.openxmlformats.org/officeDocument/2006/relationships/slideLayout" Target="../slideLayouts/slideLayout64.xml"/><Relationship Id="rId114" Type="http://schemas.openxmlformats.org/officeDocument/2006/relationships/slideLayout" Target="../slideLayouts/slideLayout129.xml"/><Relationship Id="rId296" Type="http://schemas.openxmlformats.org/officeDocument/2006/relationships/slideLayout" Target="../slideLayouts/slideLayout311.xml"/><Relationship Id="rId461" Type="http://schemas.openxmlformats.org/officeDocument/2006/relationships/slideLayout" Target="../slideLayouts/slideLayout476.xml"/><Relationship Id="rId60" Type="http://schemas.openxmlformats.org/officeDocument/2006/relationships/slideLayout" Target="../slideLayouts/slideLayout75.xml"/><Relationship Id="rId156" Type="http://schemas.openxmlformats.org/officeDocument/2006/relationships/slideLayout" Target="../slideLayouts/slideLayout171.xml"/><Relationship Id="rId198" Type="http://schemas.openxmlformats.org/officeDocument/2006/relationships/slideLayout" Target="../slideLayouts/slideLayout213.xml"/><Relationship Id="rId321" Type="http://schemas.openxmlformats.org/officeDocument/2006/relationships/slideLayout" Target="../slideLayouts/slideLayout336.xml"/><Relationship Id="rId363" Type="http://schemas.openxmlformats.org/officeDocument/2006/relationships/slideLayout" Target="../slideLayouts/slideLayout378.xml"/><Relationship Id="rId419" Type="http://schemas.openxmlformats.org/officeDocument/2006/relationships/slideLayout" Target="../slideLayouts/slideLayout434.xml"/><Relationship Id="rId223" Type="http://schemas.openxmlformats.org/officeDocument/2006/relationships/slideLayout" Target="../slideLayouts/slideLayout238.xml"/><Relationship Id="rId430" Type="http://schemas.openxmlformats.org/officeDocument/2006/relationships/slideLayout" Target="../slideLayouts/slideLayout445.xml"/><Relationship Id="rId18" Type="http://schemas.openxmlformats.org/officeDocument/2006/relationships/slideLayout" Target="../slideLayouts/slideLayout33.xml"/><Relationship Id="rId265" Type="http://schemas.openxmlformats.org/officeDocument/2006/relationships/slideLayout" Target="../slideLayouts/slideLayout280.xml"/><Relationship Id="rId125" Type="http://schemas.openxmlformats.org/officeDocument/2006/relationships/slideLayout" Target="../slideLayouts/slideLayout140.xml"/><Relationship Id="rId167" Type="http://schemas.openxmlformats.org/officeDocument/2006/relationships/slideLayout" Target="../slideLayouts/slideLayout182.xml"/><Relationship Id="rId332" Type="http://schemas.openxmlformats.org/officeDocument/2006/relationships/slideLayout" Target="../slideLayouts/slideLayout347.xml"/><Relationship Id="rId374" Type="http://schemas.openxmlformats.org/officeDocument/2006/relationships/slideLayout" Target="../slideLayouts/slideLayout389.xml"/><Relationship Id="rId71" Type="http://schemas.openxmlformats.org/officeDocument/2006/relationships/slideLayout" Target="../slideLayouts/slideLayout86.xml"/><Relationship Id="rId234" Type="http://schemas.openxmlformats.org/officeDocument/2006/relationships/slideLayout" Target="../slideLayouts/slideLayout249.xml"/><Relationship Id="rId2" Type="http://schemas.openxmlformats.org/officeDocument/2006/relationships/slideLayout" Target="../slideLayouts/slideLayout17.xml"/><Relationship Id="rId29" Type="http://schemas.openxmlformats.org/officeDocument/2006/relationships/slideLayout" Target="../slideLayouts/slideLayout44.xml"/><Relationship Id="rId276" Type="http://schemas.openxmlformats.org/officeDocument/2006/relationships/slideLayout" Target="../slideLayouts/slideLayout291.xml"/><Relationship Id="rId441" Type="http://schemas.openxmlformats.org/officeDocument/2006/relationships/slideLayout" Target="../slideLayouts/slideLayout456.xml"/><Relationship Id="rId40" Type="http://schemas.openxmlformats.org/officeDocument/2006/relationships/slideLayout" Target="../slideLayouts/slideLayout55.xml"/><Relationship Id="rId136" Type="http://schemas.openxmlformats.org/officeDocument/2006/relationships/slideLayout" Target="../slideLayouts/slideLayout151.xml"/><Relationship Id="rId178" Type="http://schemas.openxmlformats.org/officeDocument/2006/relationships/slideLayout" Target="../slideLayouts/slideLayout193.xml"/><Relationship Id="rId301" Type="http://schemas.openxmlformats.org/officeDocument/2006/relationships/slideLayout" Target="../slideLayouts/slideLayout316.xml"/><Relationship Id="rId343" Type="http://schemas.openxmlformats.org/officeDocument/2006/relationships/slideLayout" Target="../slideLayouts/slideLayout358.xml"/><Relationship Id="rId61" Type="http://schemas.openxmlformats.org/officeDocument/2006/relationships/slideLayout" Target="../slideLayouts/slideLayout76.xml"/><Relationship Id="rId82" Type="http://schemas.openxmlformats.org/officeDocument/2006/relationships/slideLayout" Target="../slideLayouts/slideLayout97.xml"/><Relationship Id="rId199" Type="http://schemas.openxmlformats.org/officeDocument/2006/relationships/slideLayout" Target="../slideLayouts/slideLayout214.xml"/><Relationship Id="rId203" Type="http://schemas.openxmlformats.org/officeDocument/2006/relationships/slideLayout" Target="../slideLayouts/slideLayout218.xml"/><Relationship Id="rId385" Type="http://schemas.openxmlformats.org/officeDocument/2006/relationships/slideLayout" Target="../slideLayouts/slideLayout400.xml"/><Relationship Id="rId19" Type="http://schemas.openxmlformats.org/officeDocument/2006/relationships/slideLayout" Target="../slideLayouts/slideLayout34.xml"/><Relationship Id="rId224" Type="http://schemas.openxmlformats.org/officeDocument/2006/relationships/slideLayout" Target="../slideLayouts/slideLayout239.xml"/><Relationship Id="rId245" Type="http://schemas.openxmlformats.org/officeDocument/2006/relationships/slideLayout" Target="../slideLayouts/slideLayout260.xml"/><Relationship Id="rId266" Type="http://schemas.openxmlformats.org/officeDocument/2006/relationships/slideLayout" Target="../slideLayouts/slideLayout281.xml"/><Relationship Id="rId287" Type="http://schemas.openxmlformats.org/officeDocument/2006/relationships/slideLayout" Target="../slideLayouts/slideLayout302.xml"/><Relationship Id="rId410" Type="http://schemas.openxmlformats.org/officeDocument/2006/relationships/slideLayout" Target="../slideLayouts/slideLayout425.xml"/><Relationship Id="rId431" Type="http://schemas.openxmlformats.org/officeDocument/2006/relationships/slideLayout" Target="../slideLayouts/slideLayout446.xml"/><Relationship Id="rId452" Type="http://schemas.openxmlformats.org/officeDocument/2006/relationships/slideLayout" Target="../slideLayouts/slideLayout467.xml"/><Relationship Id="rId30" Type="http://schemas.openxmlformats.org/officeDocument/2006/relationships/slideLayout" Target="../slideLayouts/slideLayout45.xml"/><Relationship Id="rId105" Type="http://schemas.openxmlformats.org/officeDocument/2006/relationships/slideLayout" Target="../slideLayouts/slideLayout120.xml"/><Relationship Id="rId126" Type="http://schemas.openxmlformats.org/officeDocument/2006/relationships/slideLayout" Target="../slideLayouts/slideLayout141.xml"/><Relationship Id="rId147" Type="http://schemas.openxmlformats.org/officeDocument/2006/relationships/slideLayout" Target="../slideLayouts/slideLayout162.xml"/><Relationship Id="rId168" Type="http://schemas.openxmlformats.org/officeDocument/2006/relationships/slideLayout" Target="../slideLayouts/slideLayout183.xml"/><Relationship Id="rId312" Type="http://schemas.openxmlformats.org/officeDocument/2006/relationships/slideLayout" Target="../slideLayouts/slideLayout327.xml"/><Relationship Id="rId333" Type="http://schemas.openxmlformats.org/officeDocument/2006/relationships/slideLayout" Target="../slideLayouts/slideLayout348.xml"/><Relationship Id="rId354" Type="http://schemas.openxmlformats.org/officeDocument/2006/relationships/slideLayout" Target="../slideLayouts/slideLayout369.xml"/><Relationship Id="rId51" Type="http://schemas.openxmlformats.org/officeDocument/2006/relationships/slideLayout" Target="../slideLayouts/slideLayout66.xml"/><Relationship Id="rId72" Type="http://schemas.openxmlformats.org/officeDocument/2006/relationships/slideLayout" Target="../slideLayouts/slideLayout87.xml"/><Relationship Id="rId93" Type="http://schemas.openxmlformats.org/officeDocument/2006/relationships/slideLayout" Target="../slideLayouts/slideLayout108.xml"/><Relationship Id="rId189" Type="http://schemas.openxmlformats.org/officeDocument/2006/relationships/slideLayout" Target="../slideLayouts/slideLayout204.xml"/><Relationship Id="rId375" Type="http://schemas.openxmlformats.org/officeDocument/2006/relationships/slideLayout" Target="../slideLayouts/slideLayout390.xml"/><Relationship Id="rId396" Type="http://schemas.openxmlformats.org/officeDocument/2006/relationships/slideLayout" Target="../slideLayouts/slideLayout411.xml"/><Relationship Id="rId3" Type="http://schemas.openxmlformats.org/officeDocument/2006/relationships/slideLayout" Target="../slideLayouts/slideLayout18.xml"/><Relationship Id="rId214" Type="http://schemas.openxmlformats.org/officeDocument/2006/relationships/slideLayout" Target="../slideLayouts/slideLayout229.xml"/><Relationship Id="rId235" Type="http://schemas.openxmlformats.org/officeDocument/2006/relationships/slideLayout" Target="../slideLayouts/slideLayout250.xml"/><Relationship Id="rId256" Type="http://schemas.openxmlformats.org/officeDocument/2006/relationships/slideLayout" Target="../slideLayouts/slideLayout271.xml"/><Relationship Id="rId277" Type="http://schemas.openxmlformats.org/officeDocument/2006/relationships/slideLayout" Target="../slideLayouts/slideLayout292.xml"/><Relationship Id="rId298" Type="http://schemas.openxmlformats.org/officeDocument/2006/relationships/slideLayout" Target="../slideLayouts/slideLayout313.xml"/><Relationship Id="rId400" Type="http://schemas.openxmlformats.org/officeDocument/2006/relationships/slideLayout" Target="../slideLayouts/slideLayout415.xml"/><Relationship Id="rId421" Type="http://schemas.openxmlformats.org/officeDocument/2006/relationships/slideLayout" Target="../slideLayouts/slideLayout436.xml"/><Relationship Id="rId442" Type="http://schemas.openxmlformats.org/officeDocument/2006/relationships/slideLayout" Target="../slideLayouts/slideLayout457.xml"/><Relationship Id="rId463" Type="http://schemas.openxmlformats.org/officeDocument/2006/relationships/slideLayout" Target="../slideLayouts/slideLayout478.xml"/><Relationship Id="rId116" Type="http://schemas.openxmlformats.org/officeDocument/2006/relationships/slideLayout" Target="../slideLayouts/slideLayout131.xml"/><Relationship Id="rId137" Type="http://schemas.openxmlformats.org/officeDocument/2006/relationships/slideLayout" Target="../slideLayouts/slideLayout152.xml"/><Relationship Id="rId158" Type="http://schemas.openxmlformats.org/officeDocument/2006/relationships/slideLayout" Target="../slideLayouts/slideLayout173.xml"/><Relationship Id="rId302" Type="http://schemas.openxmlformats.org/officeDocument/2006/relationships/slideLayout" Target="../slideLayouts/slideLayout317.xml"/><Relationship Id="rId323" Type="http://schemas.openxmlformats.org/officeDocument/2006/relationships/slideLayout" Target="../slideLayouts/slideLayout338.xml"/><Relationship Id="rId344" Type="http://schemas.openxmlformats.org/officeDocument/2006/relationships/slideLayout" Target="../slideLayouts/slideLayout359.xml"/><Relationship Id="rId20" Type="http://schemas.openxmlformats.org/officeDocument/2006/relationships/slideLayout" Target="../slideLayouts/slideLayout35.xml"/><Relationship Id="rId41" Type="http://schemas.openxmlformats.org/officeDocument/2006/relationships/slideLayout" Target="../slideLayouts/slideLayout56.xml"/><Relationship Id="rId62" Type="http://schemas.openxmlformats.org/officeDocument/2006/relationships/slideLayout" Target="../slideLayouts/slideLayout77.xml"/><Relationship Id="rId83" Type="http://schemas.openxmlformats.org/officeDocument/2006/relationships/slideLayout" Target="../slideLayouts/slideLayout98.xml"/><Relationship Id="rId179" Type="http://schemas.openxmlformats.org/officeDocument/2006/relationships/slideLayout" Target="../slideLayouts/slideLayout194.xml"/><Relationship Id="rId365" Type="http://schemas.openxmlformats.org/officeDocument/2006/relationships/slideLayout" Target="../slideLayouts/slideLayout380.xml"/><Relationship Id="rId386" Type="http://schemas.openxmlformats.org/officeDocument/2006/relationships/slideLayout" Target="../slideLayouts/slideLayout401.xml"/><Relationship Id="rId190" Type="http://schemas.openxmlformats.org/officeDocument/2006/relationships/slideLayout" Target="../slideLayouts/slideLayout205.xml"/><Relationship Id="rId204" Type="http://schemas.openxmlformats.org/officeDocument/2006/relationships/slideLayout" Target="../slideLayouts/slideLayout219.xml"/><Relationship Id="rId225" Type="http://schemas.openxmlformats.org/officeDocument/2006/relationships/slideLayout" Target="../slideLayouts/slideLayout240.xml"/><Relationship Id="rId246" Type="http://schemas.openxmlformats.org/officeDocument/2006/relationships/slideLayout" Target="../slideLayouts/slideLayout261.xml"/><Relationship Id="rId267" Type="http://schemas.openxmlformats.org/officeDocument/2006/relationships/slideLayout" Target="../slideLayouts/slideLayout282.xml"/><Relationship Id="rId288" Type="http://schemas.openxmlformats.org/officeDocument/2006/relationships/slideLayout" Target="../slideLayouts/slideLayout303.xml"/><Relationship Id="rId411" Type="http://schemas.openxmlformats.org/officeDocument/2006/relationships/slideLayout" Target="../slideLayouts/slideLayout426.xml"/><Relationship Id="rId432" Type="http://schemas.openxmlformats.org/officeDocument/2006/relationships/slideLayout" Target="../slideLayouts/slideLayout447.xml"/><Relationship Id="rId453" Type="http://schemas.openxmlformats.org/officeDocument/2006/relationships/slideLayout" Target="../slideLayouts/slideLayout468.xml"/><Relationship Id="rId106" Type="http://schemas.openxmlformats.org/officeDocument/2006/relationships/slideLayout" Target="../slideLayouts/slideLayout121.xml"/><Relationship Id="rId127" Type="http://schemas.openxmlformats.org/officeDocument/2006/relationships/slideLayout" Target="../slideLayouts/slideLayout142.xml"/><Relationship Id="rId313" Type="http://schemas.openxmlformats.org/officeDocument/2006/relationships/slideLayout" Target="../slideLayouts/slideLayout328.xml"/><Relationship Id="rId10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46.xml"/><Relationship Id="rId52" Type="http://schemas.openxmlformats.org/officeDocument/2006/relationships/slideLayout" Target="../slideLayouts/slideLayout67.xml"/><Relationship Id="rId73" Type="http://schemas.openxmlformats.org/officeDocument/2006/relationships/slideLayout" Target="../slideLayouts/slideLayout88.xml"/><Relationship Id="rId94" Type="http://schemas.openxmlformats.org/officeDocument/2006/relationships/slideLayout" Target="../slideLayouts/slideLayout109.xml"/><Relationship Id="rId148" Type="http://schemas.openxmlformats.org/officeDocument/2006/relationships/slideLayout" Target="../slideLayouts/slideLayout163.xml"/><Relationship Id="rId169" Type="http://schemas.openxmlformats.org/officeDocument/2006/relationships/slideLayout" Target="../slideLayouts/slideLayout184.xml"/><Relationship Id="rId334" Type="http://schemas.openxmlformats.org/officeDocument/2006/relationships/slideLayout" Target="../slideLayouts/slideLayout349.xml"/><Relationship Id="rId355" Type="http://schemas.openxmlformats.org/officeDocument/2006/relationships/slideLayout" Target="../slideLayouts/slideLayout370.xml"/><Relationship Id="rId376" Type="http://schemas.openxmlformats.org/officeDocument/2006/relationships/slideLayout" Target="../slideLayouts/slideLayout391.xml"/><Relationship Id="rId397" Type="http://schemas.openxmlformats.org/officeDocument/2006/relationships/slideLayout" Target="../slideLayouts/slideLayout412.xml"/><Relationship Id="rId4" Type="http://schemas.openxmlformats.org/officeDocument/2006/relationships/slideLayout" Target="../slideLayouts/slideLayout19.xml"/><Relationship Id="rId180" Type="http://schemas.openxmlformats.org/officeDocument/2006/relationships/slideLayout" Target="../slideLayouts/slideLayout195.xml"/><Relationship Id="rId215" Type="http://schemas.openxmlformats.org/officeDocument/2006/relationships/slideLayout" Target="../slideLayouts/slideLayout230.xml"/><Relationship Id="rId236" Type="http://schemas.openxmlformats.org/officeDocument/2006/relationships/slideLayout" Target="../slideLayouts/slideLayout251.xml"/><Relationship Id="rId257" Type="http://schemas.openxmlformats.org/officeDocument/2006/relationships/slideLayout" Target="../slideLayouts/slideLayout272.xml"/><Relationship Id="rId278" Type="http://schemas.openxmlformats.org/officeDocument/2006/relationships/slideLayout" Target="../slideLayouts/slideLayout293.xml"/><Relationship Id="rId401" Type="http://schemas.openxmlformats.org/officeDocument/2006/relationships/slideLayout" Target="../slideLayouts/slideLayout416.xml"/><Relationship Id="rId422" Type="http://schemas.openxmlformats.org/officeDocument/2006/relationships/slideLayout" Target="../slideLayouts/slideLayout437.xml"/><Relationship Id="rId443" Type="http://schemas.openxmlformats.org/officeDocument/2006/relationships/slideLayout" Target="../slideLayouts/slideLayout458.xml"/><Relationship Id="rId464" Type="http://schemas.openxmlformats.org/officeDocument/2006/relationships/slideLayout" Target="../slideLayouts/slideLayout479.xml"/><Relationship Id="rId303" Type="http://schemas.openxmlformats.org/officeDocument/2006/relationships/slideLayout" Target="../slideLayouts/slideLayout318.xml"/><Relationship Id="rId42" Type="http://schemas.openxmlformats.org/officeDocument/2006/relationships/slideLayout" Target="../slideLayouts/slideLayout57.xml"/><Relationship Id="rId84" Type="http://schemas.openxmlformats.org/officeDocument/2006/relationships/slideLayout" Target="../slideLayouts/slideLayout99.xml"/><Relationship Id="rId138" Type="http://schemas.openxmlformats.org/officeDocument/2006/relationships/slideLayout" Target="../slideLayouts/slideLayout153.xml"/><Relationship Id="rId345" Type="http://schemas.openxmlformats.org/officeDocument/2006/relationships/slideLayout" Target="../slideLayouts/slideLayout360.xml"/><Relationship Id="rId387" Type="http://schemas.openxmlformats.org/officeDocument/2006/relationships/slideLayout" Target="../slideLayouts/slideLayout402.xml"/><Relationship Id="rId191" Type="http://schemas.openxmlformats.org/officeDocument/2006/relationships/slideLayout" Target="../slideLayouts/slideLayout206.xml"/><Relationship Id="rId205" Type="http://schemas.openxmlformats.org/officeDocument/2006/relationships/slideLayout" Target="../slideLayouts/slideLayout220.xml"/><Relationship Id="rId247" Type="http://schemas.openxmlformats.org/officeDocument/2006/relationships/slideLayout" Target="../slideLayouts/slideLayout262.xml"/><Relationship Id="rId412" Type="http://schemas.openxmlformats.org/officeDocument/2006/relationships/slideLayout" Target="../slideLayouts/slideLayout427.xml"/><Relationship Id="rId107" Type="http://schemas.openxmlformats.org/officeDocument/2006/relationships/slideLayout" Target="../slideLayouts/slideLayout122.xml"/><Relationship Id="rId289" Type="http://schemas.openxmlformats.org/officeDocument/2006/relationships/slideLayout" Target="../slideLayouts/slideLayout304.xml"/><Relationship Id="rId454" Type="http://schemas.openxmlformats.org/officeDocument/2006/relationships/slideLayout" Target="../slideLayouts/slideLayout469.xml"/><Relationship Id="rId11" Type="http://schemas.openxmlformats.org/officeDocument/2006/relationships/slideLayout" Target="../slideLayouts/slideLayout26.xml"/><Relationship Id="rId53" Type="http://schemas.openxmlformats.org/officeDocument/2006/relationships/slideLayout" Target="../slideLayouts/slideLayout68.xml"/><Relationship Id="rId149" Type="http://schemas.openxmlformats.org/officeDocument/2006/relationships/slideLayout" Target="../slideLayouts/slideLayout164.xml"/><Relationship Id="rId314" Type="http://schemas.openxmlformats.org/officeDocument/2006/relationships/slideLayout" Target="../slideLayouts/slideLayout329.xml"/><Relationship Id="rId356" Type="http://schemas.openxmlformats.org/officeDocument/2006/relationships/slideLayout" Target="../slideLayouts/slideLayout371.xml"/><Relationship Id="rId398" Type="http://schemas.openxmlformats.org/officeDocument/2006/relationships/slideLayout" Target="../slideLayouts/slideLayout413.xml"/><Relationship Id="rId95" Type="http://schemas.openxmlformats.org/officeDocument/2006/relationships/slideLayout" Target="../slideLayouts/slideLayout110.xml"/><Relationship Id="rId160" Type="http://schemas.openxmlformats.org/officeDocument/2006/relationships/slideLayout" Target="../slideLayouts/slideLayout175.xml"/><Relationship Id="rId216" Type="http://schemas.openxmlformats.org/officeDocument/2006/relationships/slideLayout" Target="../slideLayouts/slideLayout231.xml"/><Relationship Id="rId423" Type="http://schemas.openxmlformats.org/officeDocument/2006/relationships/slideLayout" Target="../slideLayouts/slideLayout438.xml"/><Relationship Id="rId258" Type="http://schemas.openxmlformats.org/officeDocument/2006/relationships/slideLayout" Target="../slideLayouts/slideLayout273.xml"/><Relationship Id="rId465" Type="http://schemas.openxmlformats.org/officeDocument/2006/relationships/slideLayout" Target="../slideLayouts/slideLayout480.xml"/><Relationship Id="rId22" Type="http://schemas.openxmlformats.org/officeDocument/2006/relationships/slideLayout" Target="../slideLayouts/slideLayout37.xml"/><Relationship Id="rId64" Type="http://schemas.openxmlformats.org/officeDocument/2006/relationships/slideLayout" Target="../slideLayouts/slideLayout79.xml"/><Relationship Id="rId118" Type="http://schemas.openxmlformats.org/officeDocument/2006/relationships/slideLayout" Target="../slideLayouts/slideLayout133.xml"/><Relationship Id="rId325" Type="http://schemas.openxmlformats.org/officeDocument/2006/relationships/slideLayout" Target="../slideLayouts/slideLayout340.xml"/><Relationship Id="rId367" Type="http://schemas.openxmlformats.org/officeDocument/2006/relationships/slideLayout" Target="../slideLayouts/slideLayout382.xml"/><Relationship Id="rId171" Type="http://schemas.openxmlformats.org/officeDocument/2006/relationships/slideLayout" Target="../slideLayouts/slideLayout186.xml"/><Relationship Id="rId227" Type="http://schemas.openxmlformats.org/officeDocument/2006/relationships/slideLayout" Target="../slideLayouts/slideLayout242.xml"/><Relationship Id="rId269" Type="http://schemas.openxmlformats.org/officeDocument/2006/relationships/slideLayout" Target="../slideLayouts/slideLayout284.xml"/><Relationship Id="rId434" Type="http://schemas.openxmlformats.org/officeDocument/2006/relationships/slideLayout" Target="../slideLayouts/slideLayout449.xml"/><Relationship Id="rId33" Type="http://schemas.openxmlformats.org/officeDocument/2006/relationships/slideLayout" Target="../slideLayouts/slideLayout48.xml"/><Relationship Id="rId129" Type="http://schemas.openxmlformats.org/officeDocument/2006/relationships/slideLayout" Target="../slideLayouts/slideLayout144.xml"/><Relationship Id="rId280" Type="http://schemas.openxmlformats.org/officeDocument/2006/relationships/slideLayout" Target="../slideLayouts/slideLayout295.xml"/><Relationship Id="rId336" Type="http://schemas.openxmlformats.org/officeDocument/2006/relationships/slideLayout" Target="../slideLayouts/slideLayout351.xml"/><Relationship Id="rId75" Type="http://schemas.openxmlformats.org/officeDocument/2006/relationships/slideLayout" Target="../slideLayouts/slideLayout90.xml"/><Relationship Id="rId140" Type="http://schemas.openxmlformats.org/officeDocument/2006/relationships/slideLayout" Target="../slideLayouts/slideLayout155.xml"/><Relationship Id="rId182" Type="http://schemas.openxmlformats.org/officeDocument/2006/relationships/slideLayout" Target="../slideLayouts/slideLayout197.xml"/><Relationship Id="rId378" Type="http://schemas.openxmlformats.org/officeDocument/2006/relationships/slideLayout" Target="../slideLayouts/slideLayout393.xml"/><Relationship Id="rId403" Type="http://schemas.openxmlformats.org/officeDocument/2006/relationships/slideLayout" Target="../slideLayouts/slideLayout418.xml"/><Relationship Id="rId6" Type="http://schemas.openxmlformats.org/officeDocument/2006/relationships/slideLayout" Target="../slideLayouts/slideLayout21.xml"/><Relationship Id="rId238" Type="http://schemas.openxmlformats.org/officeDocument/2006/relationships/slideLayout" Target="../slideLayouts/slideLayout253.xml"/><Relationship Id="rId445" Type="http://schemas.openxmlformats.org/officeDocument/2006/relationships/slideLayout" Target="../slideLayouts/slideLayout460.xml"/><Relationship Id="rId291" Type="http://schemas.openxmlformats.org/officeDocument/2006/relationships/slideLayout" Target="../slideLayouts/slideLayout306.xml"/><Relationship Id="rId305" Type="http://schemas.openxmlformats.org/officeDocument/2006/relationships/slideLayout" Target="../slideLayouts/slideLayout320.xml"/><Relationship Id="rId347" Type="http://schemas.openxmlformats.org/officeDocument/2006/relationships/slideLayout" Target="../slideLayouts/slideLayout362.xml"/><Relationship Id="rId44" Type="http://schemas.openxmlformats.org/officeDocument/2006/relationships/slideLayout" Target="../slideLayouts/slideLayout59.xml"/><Relationship Id="rId86" Type="http://schemas.openxmlformats.org/officeDocument/2006/relationships/slideLayout" Target="../slideLayouts/slideLayout101.xml"/><Relationship Id="rId151" Type="http://schemas.openxmlformats.org/officeDocument/2006/relationships/slideLayout" Target="../slideLayouts/slideLayout166.xml"/><Relationship Id="rId389" Type="http://schemas.openxmlformats.org/officeDocument/2006/relationships/slideLayout" Target="../slideLayouts/slideLayout404.xml"/><Relationship Id="rId193" Type="http://schemas.openxmlformats.org/officeDocument/2006/relationships/slideLayout" Target="../slideLayouts/slideLayout208.xml"/><Relationship Id="rId207" Type="http://schemas.openxmlformats.org/officeDocument/2006/relationships/slideLayout" Target="../slideLayouts/slideLayout222.xml"/><Relationship Id="rId249" Type="http://schemas.openxmlformats.org/officeDocument/2006/relationships/slideLayout" Target="../slideLayouts/slideLayout264.xml"/><Relationship Id="rId414" Type="http://schemas.openxmlformats.org/officeDocument/2006/relationships/slideLayout" Target="../slideLayouts/slideLayout429.xml"/><Relationship Id="rId456" Type="http://schemas.openxmlformats.org/officeDocument/2006/relationships/slideLayout" Target="../slideLayouts/slideLayout471.xml"/><Relationship Id="rId13" Type="http://schemas.openxmlformats.org/officeDocument/2006/relationships/slideLayout" Target="../slideLayouts/slideLayout28.xml"/><Relationship Id="rId109" Type="http://schemas.openxmlformats.org/officeDocument/2006/relationships/slideLayout" Target="../slideLayouts/slideLayout124.xml"/><Relationship Id="rId260" Type="http://schemas.openxmlformats.org/officeDocument/2006/relationships/slideLayout" Target="../slideLayouts/slideLayout275.xml"/><Relationship Id="rId316" Type="http://schemas.openxmlformats.org/officeDocument/2006/relationships/slideLayout" Target="../slideLayouts/slideLayout331.xml"/><Relationship Id="rId55" Type="http://schemas.openxmlformats.org/officeDocument/2006/relationships/slideLayout" Target="../slideLayouts/slideLayout70.xml"/><Relationship Id="rId97" Type="http://schemas.openxmlformats.org/officeDocument/2006/relationships/slideLayout" Target="../slideLayouts/slideLayout112.xml"/><Relationship Id="rId120" Type="http://schemas.openxmlformats.org/officeDocument/2006/relationships/slideLayout" Target="../slideLayouts/slideLayout135.xml"/><Relationship Id="rId358" Type="http://schemas.openxmlformats.org/officeDocument/2006/relationships/slideLayout" Target="../slideLayouts/slideLayout373.xml"/><Relationship Id="rId162" Type="http://schemas.openxmlformats.org/officeDocument/2006/relationships/slideLayout" Target="../slideLayouts/slideLayout177.xml"/><Relationship Id="rId218" Type="http://schemas.openxmlformats.org/officeDocument/2006/relationships/slideLayout" Target="../slideLayouts/slideLayout233.xml"/><Relationship Id="rId425" Type="http://schemas.openxmlformats.org/officeDocument/2006/relationships/slideLayout" Target="../slideLayouts/slideLayout440.xml"/><Relationship Id="rId467" Type="http://schemas.openxmlformats.org/officeDocument/2006/relationships/slideLayout" Target="../slideLayouts/slideLayout482.xml"/><Relationship Id="rId271" Type="http://schemas.openxmlformats.org/officeDocument/2006/relationships/slideLayout" Target="../slideLayouts/slideLayout286.xml"/><Relationship Id="rId24" Type="http://schemas.openxmlformats.org/officeDocument/2006/relationships/slideLayout" Target="../slideLayouts/slideLayout39.xml"/><Relationship Id="rId66" Type="http://schemas.openxmlformats.org/officeDocument/2006/relationships/slideLayout" Target="../slideLayouts/slideLayout81.xml"/><Relationship Id="rId131" Type="http://schemas.openxmlformats.org/officeDocument/2006/relationships/slideLayout" Target="../slideLayouts/slideLayout146.xml"/><Relationship Id="rId327" Type="http://schemas.openxmlformats.org/officeDocument/2006/relationships/slideLayout" Target="../slideLayouts/slideLayout342.xml"/><Relationship Id="rId369" Type="http://schemas.openxmlformats.org/officeDocument/2006/relationships/slideLayout" Target="../slideLayouts/slideLayout384.xml"/><Relationship Id="rId173" Type="http://schemas.openxmlformats.org/officeDocument/2006/relationships/slideLayout" Target="../slideLayouts/slideLayout188.xml"/><Relationship Id="rId229" Type="http://schemas.openxmlformats.org/officeDocument/2006/relationships/slideLayout" Target="../slideLayouts/slideLayout244.xml"/><Relationship Id="rId380" Type="http://schemas.openxmlformats.org/officeDocument/2006/relationships/slideLayout" Target="../slideLayouts/slideLayout395.xml"/><Relationship Id="rId436" Type="http://schemas.openxmlformats.org/officeDocument/2006/relationships/slideLayout" Target="../slideLayouts/slideLayout451.xml"/><Relationship Id="rId240" Type="http://schemas.openxmlformats.org/officeDocument/2006/relationships/slideLayout" Target="../slideLayouts/slideLayout255.xml"/><Relationship Id="rId35" Type="http://schemas.openxmlformats.org/officeDocument/2006/relationships/slideLayout" Target="../slideLayouts/slideLayout50.xml"/><Relationship Id="rId77" Type="http://schemas.openxmlformats.org/officeDocument/2006/relationships/slideLayout" Target="../slideLayouts/slideLayout92.xml"/><Relationship Id="rId100" Type="http://schemas.openxmlformats.org/officeDocument/2006/relationships/slideLayout" Target="../slideLayouts/slideLayout115.xml"/><Relationship Id="rId282" Type="http://schemas.openxmlformats.org/officeDocument/2006/relationships/slideLayout" Target="../slideLayouts/slideLayout297.xml"/><Relationship Id="rId338" Type="http://schemas.openxmlformats.org/officeDocument/2006/relationships/slideLayout" Target="../slideLayouts/slideLayout353.xml"/><Relationship Id="rId8" Type="http://schemas.openxmlformats.org/officeDocument/2006/relationships/slideLayout" Target="../slideLayouts/slideLayout23.xml"/><Relationship Id="rId142" Type="http://schemas.openxmlformats.org/officeDocument/2006/relationships/slideLayout" Target="../slideLayouts/slideLayout157.xml"/><Relationship Id="rId184" Type="http://schemas.openxmlformats.org/officeDocument/2006/relationships/slideLayout" Target="../slideLayouts/slideLayout199.xml"/><Relationship Id="rId391" Type="http://schemas.openxmlformats.org/officeDocument/2006/relationships/slideLayout" Target="../slideLayouts/slideLayout406.xml"/><Relationship Id="rId405" Type="http://schemas.openxmlformats.org/officeDocument/2006/relationships/slideLayout" Target="../slideLayouts/slideLayout420.xml"/><Relationship Id="rId447" Type="http://schemas.openxmlformats.org/officeDocument/2006/relationships/slideLayout" Target="../slideLayouts/slideLayout462.xml"/><Relationship Id="rId251" Type="http://schemas.openxmlformats.org/officeDocument/2006/relationships/slideLayout" Target="../slideLayouts/slideLayout266.xml"/><Relationship Id="rId46" Type="http://schemas.openxmlformats.org/officeDocument/2006/relationships/slideLayout" Target="../slideLayouts/slideLayout61.xml"/><Relationship Id="rId293" Type="http://schemas.openxmlformats.org/officeDocument/2006/relationships/slideLayout" Target="../slideLayouts/slideLayout308.xml"/><Relationship Id="rId307" Type="http://schemas.openxmlformats.org/officeDocument/2006/relationships/slideLayout" Target="../slideLayouts/slideLayout322.xml"/><Relationship Id="rId349" Type="http://schemas.openxmlformats.org/officeDocument/2006/relationships/slideLayout" Target="../slideLayouts/slideLayout364.xml"/><Relationship Id="rId88" Type="http://schemas.openxmlformats.org/officeDocument/2006/relationships/slideLayout" Target="../slideLayouts/slideLayout103.xml"/><Relationship Id="rId111" Type="http://schemas.openxmlformats.org/officeDocument/2006/relationships/slideLayout" Target="../slideLayouts/slideLayout126.xml"/><Relationship Id="rId153" Type="http://schemas.openxmlformats.org/officeDocument/2006/relationships/slideLayout" Target="../slideLayouts/slideLayout168.xml"/><Relationship Id="rId195" Type="http://schemas.openxmlformats.org/officeDocument/2006/relationships/slideLayout" Target="../slideLayouts/slideLayout210.xml"/><Relationship Id="rId209" Type="http://schemas.openxmlformats.org/officeDocument/2006/relationships/slideLayout" Target="../slideLayouts/slideLayout224.xml"/><Relationship Id="rId360" Type="http://schemas.openxmlformats.org/officeDocument/2006/relationships/slideLayout" Target="../slideLayouts/slideLayout375.xml"/><Relationship Id="rId416" Type="http://schemas.openxmlformats.org/officeDocument/2006/relationships/slideLayout" Target="../slideLayouts/slideLayout431.xml"/><Relationship Id="rId220" Type="http://schemas.openxmlformats.org/officeDocument/2006/relationships/slideLayout" Target="../slideLayouts/slideLayout235.xml"/><Relationship Id="rId458" Type="http://schemas.openxmlformats.org/officeDocument/2006/relationships/slideLayout" Target="../slideLayouts/slideLayout473.xml"/><Relationship Id="rId15" Type="http://schemas.openxmlformats.org/officeDocument/2006/relationships/slideLayout" Target="../slideLayouts/slideLayout30.xml"/><Relationship Id="rId57" Type="http://schemas.openxmlformats.org/officeDocument/2006/relationships/slideLayout" Target="../slideLayouts/slideLayout72.xml"/><Relationship Id="rId262" Type="http://schemas.openxmlformats.org/officeDocument/2006/relationships/slideLayout" Target="../slideLayouts/slideLayout277.xml"/><Relationship Id="rId318" Type="http://schemas.openxmlformats.org/officeDocument/2006/relationships/slideLayout" Target="../slideLayouts/slideLayout333.xml"/><Relationship Id="rId99" Type="http://schemas.openxmlformats.org/officeDocument/2006/relationships/slideLayout" Target="../slideLayouts/slideLayout114.xml"/><Relationship Id="rId122" Type="http://schemas.openxmlformats.org/officeDocument/2006/relationships/slideLayout" Target="../slideLayouts/slideLayout137.xml"/><Relationship Id="rId164" Type="http://schemas.openxmlformats.org/officeDocument/2006/relationships/slideLayout" Target="../slideLayouts/slideLayout179.xml"/><Relationship Id="rId371" Type="http://schemas.openxmlformats.org/officeDocument/2006/relationships/slideLayout" Target="../slideLayouts/slideLayout386.xml"/><Relationship Id="rId427" Type="http://schemas.openxmlformats.org/officeDocument/2006/relationships/slideLayout" Target="../slideLayouts/slideLayout442.xml"/><Relationship Id="rId26" Type="http://schemas.openxmlformats.org/officeDocument/2006/relationships/slideLayout" Target="../slideLayouts/slideLayout41.xml"/><Relationship Id="rId231" Type="http://schemas.openxmlformats.org/officeDocument/2006/relationships/slideLayout" Target="../slideLayouts/slideLayout246.xml"/><Relationship Id="rId273" Type="http://schemas.openxmlformats.org/officeDocument/2006/relationships/slideLayout" Target="../slideLayouts/slideLayout288.xml"/><Relationship Id="rId329" Type="http://schemas.openxmlformats.org/officeDocument/2006/relationships/slideLayout" Target="../slideLayouts/slideLayout344.xml"/><Relationship Id="rId68" Type="http://schemas.openxmlformats.org/officeDocument/2006/relationships/slideLayout" Target="../slideLayouts/slideLayout83.xml"/><Relationship Id="rId133" Type="http://schemas.openxmlformats.org/officeDocument/2006/relationships/slideLayout" Target="../slideLayouts/slideLayout148.xml"/><Relationship Id="rId175" Type="http://schemas.openxmlformats.org/officeDocument/2006/relationships/slideLayout" Target="../slideLayouts/slideLayout190.xml"/><Relationship Id="rId340" Type="http://schemas.openxmlformats.org/officeDocument/2006/relationships/slideLayout" Target="../slideLayouts/slideLayout355.xml"/><Relationship Id="rId200" Type="http://schemas.openxmlformats.org/officeDocument/2006/relationships/slideLayout" Target="../slideLayouts/slideLayout215.xml"/><Relationship Id="rId382" Type="http://schemas.openxmlformats.org/officeDocument/2006/relationships/slideLayout" Target="../slideLayouts/slideLayout397.xml"/><Relationship Id="rId438" Type="http://schemas.openxmlformats.org/officeDocument/2006/relationships/slideLayout" Target="../slideLayouts/slideLayout453.xml"/><Relationship Id="rId242" Type="http://schemas.openxmlformats.org/officeDocument/2006/relationships/slideLayout" Target="../slideLayouts/slideLayout257.xml"/><Relationship Id="rId284" Type="http://schemas.openxmlformats.org/officeDocument/2006/relationships/slideLayout" Target="../slideLayouts/slideLayout299.xml"/><Relationship Id="rId37" Type="http://schemas.openxmlformats.org/officeDocument/2006/relationships/slideLayout" Target="../slideLayouts/slideLayout52.xml"/><Relationship Id="rId79" Type="http://schemas.openxmlformats.org/officeDocument/2006/relationships/slideLayout" Target="../slideLayouts/slideLayout94.xml"/><Relationship Id="rId102" Type="http://schemas.openxmlformats.org/officeDocument/2006/relationships/slideLayout" Target="../slideLayouts/slideLayout117.xml"/><Relationship Id="rId144" Type="http://schemas.openxmlformats.org/officeDocument/2006/relationships/slideLayout" Target="../slideLayouts/slideLayout159.xml"/><Relationship Id="rId90" Type="http://schemas.openxmlformats.org/officeDocument/2006/relationships/slideLayout" Target="../slideLayouts/slideLayout105.xml"/><Relationship Id="rId186" Type="http://schemas.openxmlformats.org/officeDocument/2006/relationships/slideLayout" Target="../slideLayouts/slideLayout201.xml"/><Relationship Id="rId351" Type="http://schemas.openxmlformats.org/officeDocument/2006/relationships/slideLayout" Target="../slideLayouts/slideLayout366.xml"/><Relationship Id="rId393" Type="http://schemas.openxmlformats.org/officeDocument/2006/relationships/slideLayout" Target="../slideLayouts/slideLayout408.xml"/><Relationship Id="rId407" Type="http://schemas.openxmlformats.org/officeDocument/2006/relationships/slideLayout" Target="../slideLayouts/slideLayout422.xml"/><Relationship Id="rId449" Type="http://schemas.openxmlformats.org/officeDocument/2006/relationships/slideLayout" Target="../slideLayouts/slideLayout464.xml"/><Relationship Id="rId211" Type="http://schemas.openxmlformats.org/officeDocument/2006/relationships/slideLayout" Target="../slideLayouts/slideLayout226.xml"/><Relationship Id="rId253" Type="http://schemas.openxmlformats.org/officeDocument/2006/relationships/slideLayout" Target="../slideLayouts/slideLayout268.xml"/><Relationship Id="rId295" Type="http://schemas.openxmlformats.org/officeDocument/2006/relationships/slideLayout" Target="../slideLayouts/slideLayout310.xml"/><Relationship Id="rId309" Type="http://schemas.openxmlformats.org/officeDocument/2006/relationships/slideLayout" Target="../slideLayouts/slideLayout324.xml"/><Relationship Id="rId460" Type="http://schemas.openxmlformats.org/officeDocument/2006/relationships/slideLayout" Target="../slideLayouts/slideLayout475.xml"/><Relationship Id="rId48" Type="http://schemas.openxmlformats.org/officeDocument/2006/relationships/slideLayout" Target="../slideLayouts/slideLayout63.xml"/><Relationship Id="rId113" Type="http://schemas.openxmlformats.org/officeDocument/2006/relationships/slideLayout" Target="../slideLayouts/slideLayout128.xml"/><Relationship Id="rId320" Type="http://schemas.openxmlformats.org/officeDocument/2006/relationships/slideLayout" Target="../slideLayouts/slideLayout335.xml"/><Relationship Id="rId155" Type="http://schemas.openxmlformats.org/officeDocument/2006/relationships/slideLayout" Target="../slideLayouts/slideLayout170.xml"/><Relationship Id="rId197" Type="http://schemas.openxmlformats.org/officeDocument/2006/relationships/slideLayout" Target="../slideLayouts/slideLayout212.xml"/><Relationship Id="rId362" Type="http://schemas.openxmlformats.org/officeDocument/2006/relationships/slideLayout" Target="../slideLayouts/slideLayout377.xml"/><Relationship Id="rId418" Type="http://schemas.openxmlformats.org/officeDocument/2006/relationships/slideLayout" Target="../slideLayouts/slideLayout433.xml"/><Relationship Id="rId222" Type="http://schemas.openxmlformats.org/officeDocument/2006/relationships/slideLayout" Target="../slideLayouts/slideLayout237.xml"/><Relationship Id="rId264" Type="http://schemas.openxmlformats.org/officeDocument/2006/relationships/slideLayout" Target="../slideLayouts/slideLayout279.xml"/><Relationship Id="rId17" Type="http://schemas.openxmlformats.org/officeDocument/2006/relationships/slideLayout" Target="../slideLayouts/slideLayout32.xml"/><Relationship Id="rId59" Type="http://schemas.openxmlformats.org/officeDocument/2006/relationships/slideLayout" Target="../slideLayouts/slideLayout74.xml"/><Relationship Id="rId124" Type="http://schemas.openxmlformats.org/officeDocument/2006/relationships/slideLayout" Target="../slideLayouts/slideLayout139.xml"/><Relationship Id="rId70" Type="http://schemas.openxmlformats.org/officeDocument/2006/relationships/slideLayout" Target="../slideLayouts/slideLayout85.xml"/><Relationship Id="rId166" Type="http://schemas.openxmlformats.org/officeDocument/2006/relationships/slideLayout" Target="../slideLayouts/slideLayout181.xml"/><Relationship Id="rId331" Type="http://schemas.openxmlformats.org/officeDocument/2006/relationships/slideLayout" Target="../slideLayouts/slideLayout346.xml"/><Relationship Id="rId373" Type="http://schemas.openxmlformats.org/officeDocument/2006/relationships/slideLayout" Target="../slideLayouts/slideLayout388.xml"/><Relationship Id="rId429" Type="http://schemas.openxmlformats.org/officeDocument/2006/relationships/slideLayout" Target="../slideLayouts/slideLayout444.xml"/><Relationship Id="rId1" Type="http://schemas.openxmlformats.org/officeDocument/2006/relationships/slideLayout" Target="../slideLayouts/slideLayout16.xml"/><Relationship Id="rId233" Type="http://schemas.openxmlformats.org/officeDocument/2006/relationships/slideLayout" Target="../slideLayouts/slideLayout248.xml"/><Relationship Id="rId440" Type="http://schemas.openxmlformats.org/officeDocument/2006/relationships/slideLayout" Target="../slideLayouts/slideLayout455.xml"/><Relationship Id="rId28" Type="http://schemas.openxmlformats.org/officeDocument/2006/relationships/slideLayout" Target="../slideLayouts/slideLayout43.xml"/><Relationship Id="rId275" Type="http://schemas.openxmlformats.org/officeDocument/2006/relationships/slideLayout" Target="../slideLayouts/slideLayout290.xml"/><Relationship Id="rId300" Type="http://schemas.openxmlformats.org/officeDocument/2006/relationships/slideLayout" Target="../slideLayouts/slideLayout315.xml"/><Relationship Id="rId81" Type="http://schemas.openxmlformats.org/officeDocument/2006/relationships/slideLayout" Target="../slideLayouts/slideLayout96.xml"/><Relationship Id="rId135" Type="http://schemas.openxmlformats.org/officeDocument/2006/relationships/slideLayout" Target="../slideLayouts/slideLayout150.xml"/><Relationship Id="rId177" Type="http://schemas.openxmlformats.org/officeDocument/2006/relationships/slideLayout" Target="../slideLayouts/slideLayout192.xml"/><Relationship Id="rId342" Type="http://schemas.openxmlformats.org/officeDocument/2006/relationships/slideLayout" Target="../slideLayouts/slideLayout357.xml"/><Relationship Id="rId384" Type="http://schemas.openxmlformats.org/officeDocument/2006/relationships/slideLayout" Target="../slideLayouts/slideLayout399.xml"/><Relationship Id="rId202" Type="http://schemas.openxmlformats.org/officeDocument/2006/relationships/slideLayout" Target="../slideLayouts/slideLayout217.xml"/><Relationship Id="rId244" Type="http://schemas.openxmlformats.org/officeDocument/2006/relationships/slideLayout" Target="../slideLayouts/slideLayout259.xml"/><Relationship Id="rId39" Type="http://schemas.openxmlformats.org/officeDocument/2006/relationships/slideLayout" Target="../slideLayouts/slideLayout54.xml"/><Relationship Id="rId286" Type="http://schemas.openxmlformats.org/officeDocument/2006/relationships/slideLayout" Target="../slideLayouts/slideLayout301.xml"/><Relationship Id="rId451" Type="http://schemas.openxmlformats.org/officeDocument/2006/relationships/slideLayout" Target="../slideLayouts/slideLayout466.xml"/><Relationship Id="rId50" Type="http://schemas.openxmlformats.org/officeDocument/2006/relationships/slideLayout" Target="../slideLayouts/slideLayout65.xml"/><Relationship Id="rId104" Type="http://schemas.openxmlformats.org/officeDocument/2006/relationships/slideLayout" Target="../slideLayouts/slideLayout119.xml"/><Relationship Id="rId146" Type="http://schemas.openxmlformats.org/officeDocument/2006/relationships/slideLayout" Target="../slideLayouts/slideLayout161.xml"/><Relationship Id="rId188" Type="http://schemas.openxmlformats.org/officeDocument/2006/relationships/slideLayout" Target="../slideLayouts/slideLayout203.xml"/><Relationship Id="rId311" Type="http://schemas.openxmlformats.org/officeDocument/2006/relationships/slideLayout" Target="../slideLayouts/slideLayout326.xml"/><Relationship Id="rId353" Type="http://schemas.openxmlformats.org/officeDocument/2006/relationships/slideLayout" Target="../slideLayouts/slideLayout368.xml"/><Relationship Id="rId395" Type="http://schemas.openxmlformats.org/officeDocument/2006/relationships/slideLayout" Target="../slideLayouts/slideLayout410.xml"/><Relationship Id="rId409" Type="http://schemas.openxmlformats.org/officeDocument/2006/relationships/slideLayout" Target="../slideLayouts/slideLayout424.xml"/><Relationship Id="rId92" Type="http://schemas.openxmlformats.org/officeDocument/2006/relationships/slideLayout" Target="../slideLayouts/slideLayout107.xml"/><Relationship Id="rId213" Type="http://schemas.openxmlformats.org/officeDocument/2006/relationships/slideLayout" Target="../slideLayouts/slideLayout228.xml"/><Relationship Id="rId420" Type="http://schemas.openxmlformats.org/officeDocument/2006/relationships/slideLayout" Target="../slideLayouts/slideLayout435.xml"/><Relationship Id="rId255" Type="http://schemas.openxmlformats.org/officeDocument/2006/relationships/slideLayout" Target="../slideLayouts/slideLayout270.xml"/><Relationship Id="rId297" Type="http://schemas.openxmlformats.org/officeDocument/2006/relationships/slideLayout" Target="../slideLayouts/slideLayout312.xml"/><Relationship Id="rId462" Type="http://schemas.openxmlformats.org/officeDocument/2006/relationships/slideLayout" Target="../slideLayouts/slideLayout477.xml"/><Relationship Id="rId115" Type="http://schemas.openxmlformats.org/officeDocument/2006/relationships/slideLayout" Target="../slideLayouts/slideLayout130.xml"/><Relationship Id="rId157" Type="http://schemas.openxmlformats.org/officeDocument/2006/relationships/slideLayout" Target="../slideLayouts/slideLayout172.xml"/><Relationship Id="rId322" Type="http://schemas.openxmlformats.org/officeDocument/2006/relationships/slideLayout" Target="../slideLayouts/slideLayout337.xml"/><Relationship Id="rId364" Type="http://schemas.openxmlformats.org/officeDocument/2006/relationships/slideLayout" Target="../slideLayouts/slideLayout37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8242" r:id="rId12"/>
    <p:sldLayoutId id="2147488243" r:id="rId13"/>
    <p:sldLayoutId id="2147488244" r:id="rId14"/>
    <p:sldLayoutId id="214748824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78073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28" r:id="rId1"/>
    <p:sldLayoutId id="2147487029" r:id="rId2"/>
    <p:sldLayoutId id="2147487030" r:id="rId3"/>
    <p:sldLayoutId id="2147487031" r:id="rId4"/>
    <p:sldLayoutId id="2147487032" r:id="rId5"/>
    <p:sldLayoutId id="2147487033" r:id="rId6"/>
    <p:sldLayoutId id="2147487034" r:id="rId7"/>
    <p:sldLayoutId id="2147487035" r:id="rId8"/>
    <p:sldLayoutId id="2147487036" r:id="rId9"/>
    <p:sldLayoutId id="2147487037" r:id="rId10"/>
    <p:sldLayoutId id="2147487038" r:id="rId11"/>
    <p:sldLayoutId id="2147487178" r:id="rId12"/>
    <p:sldLayoutId id="2147487179" r:id="rId13"/>
    <p:sldLayoutId id="2147487180" r:id="rId14"/>
    <p:sldLayoutId id="2147487039" r:id="rId15"/>
    <p:sldLayoutId id="2147487182" r:id="rId16"/>
    <p:sldLayoutId id="2147487183" r:id="rId17"/>
    <p:sldLayoutId id="2147487184" r:id="rId18"/>
    <p:sldLayoutId id="2147487185" r:id="rId19"/>
    <p:sldLayoutId id="2147487040" r:id="rId20"/>
    <p:sldLayoutId id="2147487041" r:id="rId21"/>
    <p:sldLayoutId id="2147487188" r:id="rId22"/>
    <p:sldLayoutId id="2147487189" r:id="rId23"/>
    <p:sldLayoutId id="2147487190" r:id="rId24"/>
    <p:sldLayoutId id="2147487042" r:id="rId25"/>
    <p:sldLayoutId id="2147487192" r:id="rId26"/>
    <p:sldLayoutId id="2147487193" r:id="rId27"/>
    <p:sldLayoutId id="2147487043" r:id="rId28"/>
    <p:sldLayoutId id="2147487044" r:id="rId29"/>
    <p:sldLayoutId id="2147487045" r:id="rId30"/>
    <p:sldLayoutId id="2147487046" r:id="rId31"/>
    <p:sldLayoutId id="2147487047" r:id="rId32"/>
    <p:sldLayoutId id="2147487048" r:id="rId33"/>
    <p:sldLayoutId id="2147487049" r:id="rId34"/>
    <p:sldLayoutId id="2147487050" r:id="rId35"/>
    <p:sldLayoutId id="2147487051" r:id="rId36"/>
    <p:sldLayoutId id="2147487052" r:id="rId37"/>
    <p:sldLayoutId id="2147487053" r:id="rId38"/>
    <p:sldLayoutId id="2147487205" r:id="rId39"/>
    <p:sldLayoutId id="2147487207" r:id="rId40"/>
    <p:sldLayoutId id="2147487208" r:id="rId41"/>
    <p:sldLayoutId id="2147487209" r:id="rId42"/>
    <p:sldLayoutId id="2147487210" r:id="rId43"/>
    <p:sldLayoutId id="2147487211" r:id="rId44"/>
    <p:sldLayoutId id="2147487212" r:id="rId45"/>
    <p:sldLayoutId id="2147487213" r:id="rId46"/>
    <p:sldLayoutId id="2147487214" r:id="rId47"/>
    <p:sldLayoutId id="2147487215" r:id="rId48"/>
    <p:sldLayoutId id="2147487225" r:id="rId49"/>
    <p:sldLayoutId id="2147487226" r:id="rId50"/>
    <p:sldLayoutId id="2147487227" r:id="rId51"/>
    <p:sldLayoutId id="2147487228" r:id="rId52"/>
    <p:sldLayoutId id="2147487229" r:id="rId53"/>
    <p:sldLayoutId id="2147487058" r:id="rId54"/>
    <p:sldLayoutId id="2147487231" r:id="rId55"/>
    <p:sldLayoutId id="2147487232" r:id="rId56"/>
    <p:sldLayoutId id="2147487233" r:id="rId57"/>
    <p:sldLayoutId id="2147487234" r:id="rId58"/>
    <p:sldLayoutId id="2147487235" r:id="rId59"/>
    <p:sldLayoutId id="2147487236" r:id="rId60"/>
    <p:sldLayoutId id="2147487237" r:id="rId61"/>
    <p:sldLayoutId id="2147487059" r:id="rId62"/>
    <p:sldLayoutId id="2147487060" r:id="rId63"/>
    <p:sldLayoutId id="2147487061" r:id="rId64"/>
    <p:sldLayoutId id="2147487062" r:id="rId65"/>
    <p:sldLayoutId id="2147487242" r:id="rId66"/>
    <p:sldLayoutId id="2147487063" r:id="rId67"/>
    <p:sldLayoutId id="2147487244" r:id="rId68"/>
    <p:sldLayoutId id="2147487245" r:id="rId69"/>
    <p:sldLayoutId id="2147487246" r:id="rId70"/>
    <p:sldLayoutId id="2147487064" r:id="rId71"/>
    <p:sldLayoutId id="2147487248" r:id="rId72"/>
    <p:sldLayoutId id="2147487249" r:id="rId73"/>
    <p:sldLayoutId id="2147487250" r:id="rId74"/>
    <p:sldLayoutId id="2147487251" r:id="rId75"/>
    <p:sldLayoutId id="2147487252" r:id="rId76"/>
    <p:sldLayoutId id="2147487253" r:id="rId77"/>
    <p:sldLayoutId id="2147487065" r:id="rId78"/>
    <p:sldLayoutId id="2147487066" r:id="rId79"/>
    <p:sldLayoutId id="2147487067" r:id="rId80"/>
    <p:sldLayoutId id="2147487068" r:id="rId81"/>
    <p:sldLayoutId id="2147487069" r:id="rId82"/>
    <p:sldLayoutId id="2147487070" r:id="rId83"/>
    <p:sldLayoutId id="2147487071" r:id="rId84"/>
    <p:sldLayoutId id="2147487072" r:id="rId85"/>
    <p:sldLayoutId id="2147487073" r:id="rId86"/>
    <p:sldLayoutId id="2147487074" r:id="rId87"/>
    <p:sldLayoutId id="2147487075" r:id="rId88"/>
    <p:sldLayoutId id="2147487155" r:id="rId89"/>
    <p:sldLayoutId id="2147487265" r:id="rId90"/>
    <p:sldLayoutId id="2147487266" r:id="rId91"/>
    <p:sldLayoutId id="2147487076" r:id="rId92"/>
    <p:sldLayoutId id="2147487078" r:id="rId93"/>
    <p:sldLayoutId id="2147487270" r:id="rId94"/>
    <p:sldLayoutId id="2147487271" r:id="rId95"/>
    <p:sldLayoutId id="2147487272" r:id="rId96"/>
    <p:sldLayoutId id="2147487273" r:id="rId97"/>
    <p:sldLayoutId id="2147487274" r:id="rId98"/>
    <p:sldLayoutId id="2147487275" r:id="rId99"/>
    <p:sldLayoutId id="2147487276" r:id="rId100"/>
    <p:sldLayoutId id="2147487277" r:id="rId101"/>
    <p:sldLayoutId id="2147487079" r:id="rId102"/>
    <p:sldLayoutId id="2147487080" r:id="rId103"/>
    <p:sldLayoutId id="2147487081" r:id="rId104"/>
    <p:sldLayoutId id="2147487082" r:id="rId105"/>
    <p:sldLayoutId id="2147487083" r:id="rId106"/>
    <p:sldLayoutId id="2147487084" r:id="rId107"/>
    <p:sldLayoutId id="2147487085" r:id="rId108"/>
    <p:sldLayoutId id="2147487086" r:id="rId109"/>
    <p:sldLayoutId id="2147487311" r:id="rId110"/>
    <p:sldLayoutId id="2147487096" r:id="rId111"/>
    <p:sldLayoutId id="2147487098" r:id="rId112"/>
    <p:sldLayoutId id="2147487099" r:id="rId113"/>
    <p:sldLayoutId id="2147487104" r:id="rId114"/>
    <p:sldLayoutId id="2147487326" r:id="rId115"/>
    <p:sldLayoutId id="2147487105" r:id="rId116"/>
    <p:sldLayoutId id="2147487106" r:id="rId117"/>
    <p:sldLayoutId id="2147487107" r:id="rId118"/>
    <p:sldLayoutId id="2147487108" r:id="rId119"/>
    <p:sldLayoutId id="2147487109" r:id="rId120"/>
    <p:sldLayoutId id="2147487110" r:id="rId121"/>
    <p:sldLayoutId id="2147487111" r:id="rId122"/>
    <p:sldLayoutId id="2147487112" r:id="rId123"/>
    <p:sldLayoutId id="2147487113" r:id="rId124"/>
    <p:sldLayoutId id="2147487118" r:id="rId125"/>
    <p:sldLayoutId id="2147487119" r:id="rId126"/>
    <p:sldLayoutId id="2147487120" r:id="rId127"/>
    <p:sldLayoutId id="2147487121" r:id="rId128"/>
    <p:sldLayoutId id="2147487122" r:id="rId129"/>
    <p:sldLayoutId id="2147487123" r:id="rId130"/>
    <p:sldLayoutId id="2147487346" r:id="rId131"/>
    <p:sldLayoutId id="2147487124" r:id="rId132"/>
    <p:sldLayoutId id="2147487348" r:id="rId133"/>
    <p:sldLayoutId id="2147487349" r:id="rId134"/>
    <p:sldLayoutId id="2147483847" r:id="rId135"/>
    <p:sldLayoutId id="2147483848" r:id="rId136"/>
    <p:sldLayoutId id="2147483849" r:id="rId137"/>
    <p:sldLayoutId id="2147483850" r:id="rId138"/>
    <p:sldLayoutId id="2147483862" r:id="rId139"/>
    <p:sldLayoutId id="2147483863" r:id="rId140"/>
    <p:sldLayoutId id="2147483864" r:id="rId141"/>
    <p:sldLayoutId id="2147483865" r:id="rId142"/>
    <p:sldLayoutId id="2147483866" r:id="rId143"/>
    <p:sldLayoutId id="2147483867" r:id="rId144"/>
    <p:sldLayoutId id="2147483868" r:id="rId145"/>
    <p:sldLayoutId id="2147483869" r:id="rId146"/>
    <p:sldLayoutId id="2147483870" r:id="rId147"/>
    <p:sldLayoutId id="2147483871" r:id="rId148"/>
    <p:sldLayoutId id="2147483872" r:id="rId149"/>
    <p:sldLayoutId id="2147483875" r:id="rId150"/>
    <p:sldLayoutId id="2147483876" r:id="rId151"/>
    <p:sldLayoutId id="2147483877" r:id="rId152"/>
    <p:sldLayoutId id="2147483878" r:id="rId153"/>
    <p:sldLayoutId id="2147483879" r:id="rId154"/>
    <p:sldLayoutId id="2147483880" r:id="rId155"/>
    <p:sldLayoutId id="2147483881" r:id="rId156"/>
    <p:sldLayoutId id="2147483882" r:id="rId157"/>
    <p:sldLayoutId id="2147483883" r:id="rId158"/>
    <p:sldLayoutId id="2147483884" r:id="rId159"/>
    <p:sldLayoutId id="2147483885" r:id="rId160"/>
    <p:sldLayoutId id="2147483886" r:id="rId161"/>
    <p:sldLayoutId id="2147483887" r:id="rId162"/>
    <p:sldLayoutId id="2147483888" r:id="rId163"/>
    <p:sldLayoutId id="2147483889" r:id="rId164"/>
    <p:sldLayoutId id="2147483890" r:id="rId165"/>
    <p:sldLayoutId id="2147483891" r:id="rId166"/>
    <p:sldLayoutId id="2147483892" r:id="rId167"/>
    <p:sldLayoutId id="2147483893" r:id="rId168"/>
    <p:sldLayoutId id="2147483894" r:id="rId169"/>
    <p:sldLayoutId id="2147483896" r:id="rId170"/>
    <p:sldLayoutId id="2147483897" r:id="rId171"/>
    <p:sldLayoutId id="2147483898" r:id="rId172"/>
    <p:sldLayoutId id="2147483899" r:id="rId173"/>
    <p:sldLayoutId id="2147483900" r:id="rId174"/>
    <p:sldLayoutId id="2147483901" r:id="rId175"/>
    <p:sldLayoutId id="2147483902" r:id="rId176"/>
    <p:sldLayoutId id="2147483903" r:id="rId177"/>
    <p:sldLayoutId id="2147487126" r:id="rId178"/>
    <p:sldLayoutId id="2147487128" r:id="rId179"/>
    <p:sldLayoutId id="2147487129" r:id="rId180"/>
    <p:sldLayoutId id="2147487127" r:id="rId181"/>
    <p:sldLayoutId id="2147487131" r:id="rId182"/>
    <p:sldLayoutId id="2147487132" r:id="rId183"/>
    <p:sldLayoutId id="2147487133" r:id="rId184"/>
    <p:sldLayoutId id="2147487134" r:id="rId185"/>
    <p:sldLayoutId id="2147487135" r:id="rId186"/>
    <p:sldLayoutId id="2147487136" r:id="rId187"/>
    <p:sldLayoutId id="2147487137" r:id="rId188"/>
    <p:sldLayoutId id="2147487138" r:id="rId189"/>
    <p:sldLayoutId id="2147487139" r:id="rId190"/>
    <p:sldLayoutId id="2147487140" r:id="rId191"/>
    <p:sldLayoutId id="2147487141" r:id="rId192"/>
    <p:sldLayoutId id="2147483934" r:id="rId193"/>
    <p:sldLayoutId id="2147483935" r:id="rId194"/>
    <p:sldLayoutId id="2147483936" r:id="rId195"/>
    <p:sldLayoutId id="2147487130" r:id="rId196"/>
    <p:sldLayoutId id="2147483735" r:id="rId197"/>
    <p:sldLayoutId id="2147486987" r:id="rId198"/>
    <p:sldLayoutId id="2147487355" r:id="rId199"/>
    <p:sldLayoutId id="2147487369" r:id="rId200"/>
    <p:sldLayoutId id="2147487356" r:id="rId201"/>
    <p:sldLayoutId id="2147487357" r:id="rId202"/>
    <p:sldLayoutId id="2147487358" r:id="rId203"/>
    <p:sldLayoutId id="2147485074" r:id="rId204"/>
    <p:sldLayoutId id="2147485075" r:id="rId205"/>
    <p:sldLayoutId id="2147485076" r:id="rId206"/>
    <p:sldLayoutId id="2147485077" r:id="rId207"/>
    <p:sldLayoutId id="2147485078" r:id="rId208"/>
    <p:sldLayoutId id="2147484851" r:id="rId209"/>
    <p:sldLayoutId id="2147487362" r:id="rId210"/>
    <p:sldLayoutId id="2147487360" r:id="rId211"/>
    <p:sldLayoutId id="2147483736" r:id="rId212"/>
    <p:sldLayoutId id="2147487359" r:id="rId213"/>
    <p:sldLayoutId id="2147487361" r:id="rId214"/>
    <p:sldLayoutId id="2147484627" r:id="rId215"/>
    <p:sldLayoutId id="2147485879" r:id="rId216"/>
    <p:sldLayoutId id="2147484838" r:id="rId217"/>
    <p:sldLayoutId id="2147485857" r:id="rId218"/>
    <p:sldLayoutId id="2147485858" r:id="rId219"/>
    <p:sldLayoutId id="2147485859" r:id="rId220"/>
    <p:sldLayoutId id="2147485860" r:id="rId221"/>
    <p:sldLayoutId id="2147485861" r:id="rId222"/>
    <p:sldLayoutId id="2147484634" r:id="rId223"/>
    <p:sldLayoutId id="2147484635" r:id="rId224"/>
    <p:sldLayoutId id="2147484238" r:id="rId225"/>
    <p:sldLayoutId id="2147486915" r:id="rId226"/>
    <p:sldLayoutId id="2147484840" r:id="rId227"/>
    <p:sldLayoutId id="2147486917" r:id="rId228"/>
    <p:sldLayoutId id="2147484203" r:id="rId229"/>
    <p:sldLayoutId id="2147484204" r:id="rId230"/>
    <p:sldLayoutId id="2147484205" r:id="rId231"/>
    <p:sldLayoutId id="2147484206" r:id="rId232"/>
    <p:sldLayoutId id="2147484237" r:id="rId233"/>
    <p:sldLayoutId id="2147484208" r:id="rId234"/>
    <p:sldLayoutId id="2147485064" r:id="rId235"/>
    <p:sldLayoutId id="2147485065" r:id="rId236"/>
    <p:sldLayoutId id="2147486965" r:id="rId237"/>
    <p:sldLayoutId id="2147485066" r:id="rId238"/>
    <p:sldLayoutId id="2147485067" r:id="rId239"/>
    <p:sldLayoutId id="2147485068" r:id="rId240"/>
    <p:sldLayoutId id="2147485069" r:id="rId241"/>
    <p:sldLayoutId id="2147485352" r:id="rId242"/>
    <p:sldLayoutId id="2147485070" r:id="rId243"/>
    <p:sldLayoutId id="2147486030" r:id="rId244"/>
    <p:sldLayoutId id="2147485071" r:id="rId245"/>
    <p:sldLayoutId id="2147487168" r:id="rId246"/>
    <p:sldLayoutId id="2147484626" r:id="rId247"/>
    <p:sldLayoutId id="2147484836" r:id="rId248"/>
    <p:sldLayoutId id="2147484837" r:id="rId249"/>
    <p:sldLayoutId id="2147487169" r:id="rId250"/>
    <p:sldLayoutId id="2147484602" r:id="rId251"/>
    <p:sldLayoutId id="2147484603" r:id="rId252"/>
    <p:sldLayoutId id="2147484604" r:id="rId253"/>
    <p:sldLayoutId id="2147484839" r:id="rId254"/>
    <p:sldLayoutId id="2147485847" r:id="rId255"/>
    <p:sldLayoutId id="2147485848" r:id="rId256"/>
    <p:sldLayoutId id="2147485849" r:id="rId257"/>
    <p:sldLayoutId id="2147485850" r:id="rId258"/>
    <p:sldLayoutId id="2147485851" r:id="rId259"/>
    <p:sldLayoutId id="2147485852" r:id="rId260"/>
    <p:sldLayoutId id="2147485853" r:id="rId261"/>
    <p:sldLayoutId id="2147485854" r:id="rId262"/>
    <p:sldLayoutId id="2147485855" r:id="rId263"/>
    <p:sldLayoutId id="2147485856" r:id="rId264"/>
    <p:sldLayoutId id="2147484384" r:id="rId265"/>
    <p:sldLayoutId id="2147485405" r:id="rId266"/>
    <p:sldLayoutId id="2147484559" r:id="rId267"/>
    <p:sldLayoutId id="2147484385" r:id="rId268"/>
    <p:sldLayoutId id="2147485406" r:id="rId269"/>
    <p:sldLayoutId id="2147484387" r:id="rId270"/>
    <p:sldLayoutId id="2147484388" r:id="rId271"/>
    <p:sldLayoutId id="2147484389" r:id="rId272"/>
    <p:sldLayoutId id="2147484390" r:id="rId273"/>
    <p:sldLayoutId id="2147484391" r:id="rId274"/>
    <p:sldLayoutId id="2147484392" r:id="rId275"/>
    <p:sldLayoutId id="2147486200" r:id="rId276"/>
    <p:sldLayoutId id="2147487376" r:id="rId277"/>
    <p:sldLayoutId id="2147485878" r:id="rId278"/>
    <p:sldLayoutId id="2147484654" r:id="rId279"/>
    <p:sldLayoutId id="2147484655" r:id="rId280"/>
    <p:sldLayoutId id="2147484608" r:id="rId281"/>
    <p:sldLayoutId id="2147485213" r:id="rId282"/>
    <p:sldLayoutId id="2147485214" r:id="rId283"/>
    <p:sldLayoutId id="2147485179" r:id="rId284"/>
    <p:sldLayoutId id="2147486360" r:id="rId285"/>
    <p:sldLayoutId id="2147485556" r:id="rId286"/>
    <p:sldLayoutId id="2147486361" r:id="rId287"/>
    <p:sldLayoutId id="2147484335" r:id="rId288"/>
    <p:sldLayoutId id="2147484336" r:id="rId289"/>
    <p:sldLayoutId id="2147484337" r:id="rId290"/>
    <p:sldLayoutId id="2147484853" r:id="rId291"/>
    <p:sldLayoutId id="2147484339" r:id="rId292"/>
    <p:sldLayoutId id="2147484340" r:id="rId293"/>
    <p:sldLayoutId id="2147484341" r:id="rId294"/>
    <p:sldLayoutId id="2147484342" r:id="rId295"/>
    <p:sldLayoutId id="2147484343" r:id="rId296"/>
    <p:sldLayoutId id="2147484344" r:id="rId297"/>
    <p:sldLayoutId id="2147485468" r:id="rId298"/>
    <p:sldLayoutId id="2147485865" r:id="rId299"/>
    <p:sldLayoutId id="2147484364" r:id="rId300"/>
    <p:sldLayoutId id="2147485358" r:id="rId301"/>
    <p:sldLayoutId id="2147485868" r:id="rId302"/>
    <p:sldLayoutId id="2147485869" r:id="rId303"/>
    <p:sldLayoutId id="2147485870" r:id="rId304"/>
    <p:sldLayoutId id="2147485385" r:id="rId305"/>
    <p:sldLayoutId id="2147485871" r:id="rId306"/>
    <p:sldLayoutId id="2147485469" r:id="rId307"/>
    <p:sldLayoutId id="2147484222" r:id="rId308"/>
    <p:sldLayoutId id="2147484854" r:id="rId309"/>
    <p:sldLayoutId id="2147485079" r:id="rId310"/>
    <p:sldLayoutId id="2147485080" r:id="rId311"/>
    <p:sldLayoutId id="2147485081" r:id="rId312"/>
    <p:sldLayoutId id="2147485082" r:id="rId313"/>
    <p:sldLayoutId id="2147485083" r:id="rId314"/>
    <p:sldLayoutId id="2147484596" r:id="rId315"/>
    <p:sldLayoutId id="2147484835" r:id="rId316"/>
    <p:sldLayoutId id="2147484852" r:id="rId317"/>
    <p:sldLayoutId id="2147485093" r:id="rId318"/>
    <p:sldLayoutId id="2147485072" r:id="rId319"/>
    <p:sldLayoutId id="2147485355" r:id="rId320"/>
    <p:sldLayoutId id="2147484355" r:id="rId321"/>
    <p:sldLayoutId id="2147485444" r:id="rId322"/>
    <p:sldLayoutId id="2147484356" r:id="rId323"/>
    <p:sldLayoutId id="2147483860" r:id="rId324"/>
    <p:sldLayoutId id="2147484357" r:id="rId325"/>
    <p:sldLayoutId id="2147484358" r:id="rId326"/>
    <p:sldLayoutId id="2147484359" r:id="rId327"/>
    <p:sldLayoutId id="2147484360" r:id="rId328"/>
    <p:sldLayoutId id="2147484361" r:id="rId329"/>
    <p:sldLayoutId id="2147484393" r:id="rId330"/>
    <p:sldLayoutId id="2147484394" r:id="rId331"/>
    <p:sldLayoutId id="2147484845" r:id="rId332"/>
    <p:sldLayoutId id="2147484846" r:id="rId333"/>
    <p:sldLayoutId id="2147484566" r:id="rId334"/>
    <p:sldLayoutId id="2147485470" r:id="rId335"/>
    <p:sldLayoutId id="2147484231" r:id="rId336"/>
    <p:sldLayoutId id="2147484268" r:id="rId337"/>
    <p:sldLayoutId id="2147484235" r:id="rId338"/>
    <p:sldLayoutId id="2147484847" r:id="rId339"/>
    <p:sldLayoutId id="2147484245" r:id="rId340"/>
    <p:sldLayoutId id="2147484262" r:id="rId341"/>
    <p:sldLayoutId id="2147486955" r:id="rId342"/>
    <p:sldLayoutId id="2147485238" r:id="rId343"/>
    <p:sldLayoutId id="2147486956" r:id="rId344"/>
    <p:sldLayoutId id="2147484233" r:id="rId345"/>
    <p:sldLayoutId id="2147484821" r:id="rId346"/>
    <p:sldLayoutId id="2147486952" r:id="rId347"/>
    <p:sldLayoutId id="2147485239" r:id="rId348"/>
    <p:sldLayoutId id="2147484848" r:id="rId349"/>
    <p:sldLayoutId id="2147486048" r:id="rId350"/>
    <p:sldLayoutId id="2147486954" r:id="rId351"/>
    <p:sldLayoutId id="2147484400" r:id="rId352"/>
    <p:sldLayoutId id="2147484401" r:id="rId353"/>
    <p:sldLayoutId id="2147484402" r:id="rId354"/>
    <p:sldLayoutId id="2147484822" r:id="rId355"/>
    <p:sldLayoutId id="2147486251" r:id="rId356"/>
    <p:sldLayoutId id="2147484334" r:id="rId357"/>
    <p:sldLayoutId id="2147487351" r:id="rId358"/>
    <p:sldLayoutId id="2147486990" r:id="rId359"/>
    <p:sldLayoutId id="2147484585" r:id="rId360"/>
    <p:sldLayoutId id="2147484586" r:id="rId361"/>
    <p:sldLayoutId id="2147484587" r:id="rId362"/>
    <p:sldLayoutId id="2147484588" r:id="rId363"/>
    <p:sldLayoutId id="2147484592" r:id="rId364"/>
    <p:sldLayoutId id="2147484593" r:id="rId365"/>
    <p:sldLayoutId id="2147484594" r:id="rId366"/>
    <p:sldLayoutId id="2147487156" r:id="rId367"/>
    <p:sldLayoutId id="2147485370" r:id="rId368"/>
    <p:sldLayoutId id="2147485872" r:id="rId369"/>
    <p:sldLayoutId id="2147486927" r:id="rId370"/>
    <p:sldLayoutId id="2147485367" r:id="rId371"/>
    <p:sldLayoutId id="2147485368" r:id="rId372"/>
    <p:sldLayoutId id="2147485369" r:id="rId373"/>
    <p:sldLayoutId id="2147485400" r:id="rId374"/>
    <p:sldLayoutId id="2147485401" r:id="rId375"/>
    <p:sldLayoutId id="2147485402" r:id="rId376"/>
    <p:sldLayoutId id="2147485403" r:id="rId377"/>
    <p:sldLayoutId id="2147483752" r:id="rId378"/>
    <p:sldLayoutId id="2147483753" r:id="rId379"/>
    <p:sldLayoutId id="2147483754" r:id="rId380"/>
    <p:sldLayoutId id="2147483755" r:id="rId381"/>
    <p:sldLayoutId id="2147484386" r:id="rId382"/>
    <p:sldLayoutId id="2147484815" r:id="rId383"/>
    <p:sldLayoutId id="2147484816" r:id="rId384"/>
    <p:sldLayoutId id="2147484817" r:id="rId385"/>
    <p:sldLayoutId id="2147484330" r:id="rId386"/>
    <p:sldLayoutId id="2147484331" r:id="rId387"/>
    <p:sldLayoutId id="2147484332" r:id="rId388"/>
    <p:sldLayoutId id="2147484485" r:id="rId389"/>
    <p:sldLayoutId id="2147484486" r:id="rId390"/>
    <p:sldLayoutId id="2147484609" r:id="rId391"/>
    <p:sldLayoutId id="2147484477" r:id="rId392"/>
    <p:sldLayoutId id="2147484478" r:id="rId393"/>
    <p:sldLayoutId id="2147484260" r:id="rId394"/>
    <p:sldLayoutId id="2147484856" r:id="rId395"/>
    <p:sldLayoutId id="2147484480" r:id="rId396"/>
    <p:sldLayoutId id="2147484267" r:id="rId397"/>
    <p:sldLayoutId id="2147484481" r:id="rId398"/>
    <p:sldLayoutId id="2147484482" r:id="rId399"/>
    <p:sldLayoutId id="2147484483" r:id="rId400"/>
    <p:sldLayoutId id="2147484484" r:id="rId401"/>
    <p:sldLayoutId id="2147486991" r:id="rId402"/>
    <p:sldLayoutId id="2147486992" r:id="rId403"/>
    <p:sldLayoutId id="2147486252" r:id="rId404"/>
    <p:sldLayoutId id="2147486253" r:id="rId405"/>
    <p:sldLayoutId id="2147486363" r:id="rId406"/>
    <p:sldLayoutId id="2147487006" r:id="rId407"/>
    <p:sldLayoutId id="2147486365" r:id="rId408"/>
    <p:sldLayoutId id="2147487007" r:id="rId409"/>
    <p:sldLayoutId id="2147483940" r:id="rId410"/>
    <p:sldLayoutId id="2147486367" r:id="rId411"/>
    <p:sldLayoutId id="2147486368" r:id="rId412"/>
    <p:sldLayoutId id="2147486369" r:id="rId413"/>
    <p:sldLayoutId id="2147483944" r:id="rId414"/>
    <p:sldLayoutId id="2147483945" r:id="rId415"/>
    <p:sldLayoutId id="2147483967" r:id="rId416"/>
    <p:sldLayoutId id="2147483968" r:id="rId417"/>
    <p:sldLayoutId id="2147483969" r:id="rId418"/>
    <p:sldLayoutId id="2147483970" r:id="rId419"/>
    <p:sldLayoutId id="2147483971" r:id="rId420"/>
    <p:sldLayoutId id="2147483972" r:id="rId421"/>
    <p:sldLayoutId id="2147483973" r:id="rId422"/>
    <p:sldLayoutId id="2147483976" r:id="rId423"/>
    <p:sldLayoutId id="2147483977" r:id="rId424"/>
    <p:sldLayoutId id="2147483978" r:id="rId425"/>
    <p:sldLayoutId id="2147483983" r:id="rId426"/>
    <p:sldLayoutId id="2147483984" r:id="rId427"/>
    <p:sldLayoutId id="2147483985" r:id="rId428"/>
    <p:sldLayoutId id="2147483986" r:id="rId429"/>
    <p:sldLayoutId id="2147483989" r:id="rId430"/>
    <p:sldLayoutId id="2147483990" r:id="rId431"/>
    <p:sldLayoutId id="2147483991" r:id="rId432"/>
    <p:sldLayoutId id="2147483992" r:id="rId433"/>
    <p:sldLayoutId id="2147483993" r:id="rId434"/>
    <p:sldLayoutId id="2147483996" r:id="rId435"/>
    <p:sldLayoutId id="2147483997" r:id="rId436"/>
    <p:sldLayoutId id="2147483998" r:id="rId437"/>
    <p:sldLayoutId id="2147483999" r:id="rId438"/>
    <p:sldLayoutId id="2147484000" r:id="rId439"/>
    <p:sldLayoutId id="2147484001" r:id="rId440"/>
    <p:sldLayoutId id="2147484652" r:id="rId441"/>
    <p:sldLayoutId id="2147484653" r:id="rId442"/>
    <p:sldLayoutId id="2147487008" r:id="rId443"/>
    <p:sldLayoutId id="2147487009" r:id="rId444"/>
    <p:sldLayoutId id="2147487010" r:id="rId445"/>
    <p:sldLayoutId id="2147487011" r:id="rId446"/>
    <p:sldLayoutId id="2147487012" r:id="rId447"/>
    <p:sldLayoutId id="2147487013" r:id="rId448"/>
    <p:sldLayoutId id="2147488239" r:id="rId449"/>
    <p:sldLayoutId id="2147485215" r:id="rId450"/>
    <p:sldLayoutId id="2147485425" r:id="rId451"/>
    <p:sldLayoutId id="2147485903" r:id="rId452"/>
    <p:sldLayoutId id="2147485904" r:id="rId453"/>
    <p:sldLayoutId id="2147485391" r:id="rId454"/>
    <p:sldLayoutId id="2147485392" r:id="rId455"/>
    <p:sldLayoutId id="2147484376" r:id="rId456"/>
    <p:sldLayoutId id="2147485905" r:id="rId457"/>
    <p:sldLayoutId id="2147485906" r:id="rId458"/>
    <p:sldLayoutId id="2147485394" r:id="rId459"/>
    <p:sldLayoutId id="2147485395" r:id="rId460"/>
    <p:sldLayoutId id="2147486284" r:id="rId461"/>
    <p:sldLayoutId id="2147484378" r:id="rId462"/>
    <p:sldLayoutId id="2147484379" r:id="rId463"/>
    <p:sldLayoutId id="2147485396" r:id="rId464"/>
    <p:sldLayoutId id="2147488079" r:id="rId465"/>
    <p:sldLayoutId id="2147488240" r:id="rId466"/>
    <p:sldLayoutId id="2147488241" r:id="rId46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13" Type="http://schemas.openxmlformats.org/officeDocument/2006/relationships/image" Target="../media/image91.svg"/><Relationship Id="rId3" Type="http://schemas.openxmlformats.org/officeDocument/2006/relationships/image" Target="../media/image81.png"/><Relationship Id="rId7" Type="http://schemas.openxmlformats.org/officeDocument/2006/relationships/image" Target="../media/image85.png"/><Relationship Id="rId12" Type="http://schemas.openxmlformats.org/officeDocument/2006/relationships/image" Target="../media/image90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84.png"/><Relationship Id="rId11" Type="http://schemas.openxmlformats.org/officeDocument/2006/relationships/image" Target="../media/image89.png"/><Relationship Id="rId5" Type="http://schemas.openxmlformats.org/officeDocument/2006/relationships/image" Target="../media/image83.png"/><Relationship Id="rId10" Type="http://schemas.openxmlformats.org/officeDocument/2006/relationships/image" Target="../media/image88.png"/><Relationship Id="rId4" Type="http://schemas.openxmlformats.org/officeDocument/2006/relationships/image" Target="../media/image82.png"/><Relationship Id="rId9" Type="http://schemas.openxmlformats.org/officeDocument/2006/relationships/image" Target="../media/image8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svg"/><Relationship Id="rId3" Type="http://schemas.openxmlformats.org/officeDocument/2006/relationships/image" Target="../media/image102.png"/><Relationship Id="rId7" Type="http://schemas.openxmlformats.org/officeDocument/2006/relationships/image" Target="../media/image10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05.svg"/><Relationship Id="rId5" Type="http://schemas.openxmlformats.org/officeDocument/2006/relationships/image" Target="../media/image104.png"/><Relationship Id="rId4" Type="http://schemas.openxmlformats.org/officeDocument/2006/relationships/image" Target="../media/image103.svg"/><Relationship Id="rId9" Type="http://schemas.openxmlformats.org/officeDocument/2006/relationships/image" Target="../media/image10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svg"/><Relationship Id="rId13" Type="http://schemas.openxmlformats.org/officeDocument/2006/relationships/image" Target="../media/image119.png"/><Relationship Id="rId3" Type="http://schemas.openxmlformats.org/officeDocument/2006/relationships/image" Target="../media/image109.png"/><Relationship Id="rId7" Type="http://schemas.openxmlformats.org/officeDocument/2006/relationships/image" Target="../media/image113.png"/><Relationship Id="rId12" Type="http://schemas.openxmlformats.org/officeDocument/2006/relationships/image" Target="../media/image118.svg"/><Relationship Id="rId17" Type="http://schemas.openxmlformats.org/officeDocument/2006/relationships/image" Target="../media/image123.sv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12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2.svg"/><Relationship Id="rId11" Type="http://schemas.openxmlformats.org/officeDocument/2006/relationships/image" Target="../media/image117.png"/><Relationship Id="rId5" Type="http://schemas.openxmlformats.org/officeDocument/2006/relationships/image" Target="../media/image111.png"/><Relationship Id="rId15" Type="http://schemas.openxmlformats.org/officeDocument/2006/relationships/image" Target="../media/image121.png"/><Relationship Id="rId10" Type="http://schemas.openxmlformats.org/officeDocument/2006/relationships/image" Target="../media/image116.svg"/><Relationship Id="rId4" Type="http://schemas.openxmlformats.org/officeDocument/2006/relationships/image" Target="../media/image110.svg"/><Relationship Id="rId9" Type="http://schemas.openxmlformats.org/officeDocument/2006/relationships/image" Target="../media/image115.png"/><Relationship Id="rId14" Type="http://schemas.openxmlformats.org/officeDocument/2006/relationships/image" Target="../media/image120.sv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dc.gov/sids/AboutSUIDandSIDS.htm" TargetMode="External"/><Relationship Id="rId1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13" Type="http://schemas.openxmlformats.org/officeDocument/2006/relationships/image" Target="../media/image133.png"/><Relationship Id="rId18" Type="http://schemas.openxmlformats.org/officeDocument/2006/relationships/image" Target="../media/image138.svg"/><Relationship Id="rId3" Type="http://schemas.openxmlformats.org/officeDocument/2006/relationships/image" Target="../media/image126.svg"/><Relationship Id="rId7" Type="http://schemas.openxmlformats.org/officeDocument/2006/relationships/image" Target="../media/image128.svg"/><Relationship Id="rId12" Type="http://schemas.openxmlformats.org/officeDocument/2006/relationships/image" Target="../media/image132.svg"/><Relationship Id="rId17" Type="http://schemas.openxmlformats.org/officeDocument/2006/relationships/image" Target="../media/image137.png"/><Relationship Id="rId2" Type="http://schemas.openxmlformats.org/officeDocument/2006/relationships/image" Target="../media/image125.png"/><Relationship Id="rId16" Type="http://schemas.openxmlformats.org/officeDocument/2006/relationships/image" Target="../media/image136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7.png"/><Relationship Id="rId11" Type="http://schemas.openxmlformats.org/officeDocument/2006/relationships/image" Target="../media/image113.png"/><Relationship Id="rId5" Type="http://schemas.openxmlformats.org/officeDocument/2006/relationships/image" Target="../media/image123.svg"/><Relationship Id="rId15" Type="http://schemas.openxmlformats.org/officeDocument/2006/relationships/image" Target="../media/image135.png"/><Relationship Id="rId10" Type="http://schemas.openxmlformats.org/officeDocument/2006/relationships/image" Target="../media/image131.png"/><Relationship Id="rId4" Type="http://schemas.openxmlformats.org/officeDocument/2006/relationships/image" Target="../media/image122.png"/><Relationship Id="rId9" Type="http://schemas.openxmlformats.org/officeDocument/2006/relationships/image" Target="../media/image130.svg"/><Relationship Id="rId14" Type="http://schemas.openxmlformats.org/officeDocument/2006/relationships/image" Target="../media/image134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png"/><Relationship Id="rId13" Type="http://schemas.openxmlformats.org/officeDocument/2006/relationships/image" Target="../media/image144.sv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openxmlformats.org/officeDocument/2006/relationships/image" Target="../media/image14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142.svg"/><Relationship Id="rId5" Type="http://schemas.openxmlformats.org/officeDocument/2006/relationships/diagramQuickStyle" Target="../diagrams/quickStyle2.xml"/><Relationship Id="rId10" Type="http://schemas.openxmlformats.org/officeDocument/2006/relationships/image" Target="../media/image141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140.sv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png"/><Relationship Id="rId2" Type="http://schemas.openxmlformats.org/officeDocument/2006/relationships/image" Target="../media/image14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7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13" Type="http://schemas.openxmlformats.org/officeDocument/2006/relationships/image" Target="../media/image133.png"/><Relationship Id="rId18" Type="http://schemas.openxmlformats.org/officeDocument/2006/relationships/image" Target="../media/image138.svg"/><Relationship Id="rId3" Type="http://schemas.openxmlformats.org/officeDocument/2006/relationships/image" Target="../media/image126.svg"/><Relationship Id="rId7" Type="http://schemas.openxmlformats.org/officeDocument/2006/relationships/image" Target="../media/image128.svg"/><Relationship Id="rId12" Type="http://schemas.openxmlformats.org/officeDocument/2006/relationships/image" Target="../media/image132.svg"/><Relationship Id="rId17" Type="http://schemas.openxmlformats.org/officeDocument/2006/relationships/image" Target="../media/image137.png"/><Relationship Id="rId2" Type="http://schemas.openxmlformats.org/officeDocument/2006/relationships/image" Target="../media/image125.png"/><Relationship Id="rId16" Type="http://schemas.openxmlformats.org/officeDocument/2006/relationships/image" Target="../media/image136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7.png"/><Relationship Id="rId11" Type="http://schemas.openxmlformats.org/officeDocument/2006/relationships/image" Target="../media/image113.png"/><Relationship Id="rId5" Type="http://schemas.openxmlformats.org/officeDocument/2006/relationships/image" Target="../media/image123.svg"/><Relationship Id="rId15" Type="http://schemas.openxmlformats.org/officeDocument/2006/relationships/image" Target="../media/image135.png"/><Relationship Id="rId10" Type="http://schemas.openxmlformats.org/officeDocument/2006/relationships/image" Target="../media/image131.png"/><Relationship Id="rId4" Type="http://schemas.openxmlformats.org/officeDocument/2006/relationships/image" Target="../media/image122.png"/><Relationship Id="rId9" Type="http://schemas.openxmlformats.org/officeDocument/2006/relationships/image" Target="../media/image130.svg"/><Relationship Id="rId14" Type="http://schemas.openxmlformats.org/officeDocument/2006/relationships/image" Target="../media/image134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journals.lww.com/mcnjournal/fulltext/2022/01000/transition_to_safe_sleep_at_home_needs_a.10.aspx" TargetMode="External"/><Relationship Id="rId4" Type="http://schemas.openxmlformats.org/officeDocument/2006/relationships/hyperlink" Target="https://publications.aap.org/pediatrics/article/148/1/e2021052045/179976/Transition-to-a-Safe-Home-Sleep-Environment-for?autologincheck=redirected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slideLayout" Target="../slideLayouts/slideLayout7.xml"/><Relationship Id="rId1" Type="http://schemas.openxmlformats.org/officeDocument/2006/relationships/video" Target="https://www.youtube.com/embed/mcd2YbEILS4?feature=oembed" TargetMode="External"/><Relationship Id="rId4" Type="http://schemas.openxmlformats.org/officeDocument/2006/relationships/image" Target="../media/image150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1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3.jpe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png"/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58.png"/><Relationship Id="rId5" Type="http://schemas.openxmlformats.org/officeDocument/2006/relationships/image" Target="../media/image157.png"/><Relationship Id="rId4" Type="http://schemas.openxmlformats.org/officeDocument/2006/relationships/image" Target="../media/image15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61.png"/><Relationship Id="rId4" Type="http://schemas.openxmlformats.org/officeDocument/2006/relationships/image" Target="../media/image16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2.png"/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png"/><Relationship Id="rId2" Type="http://schemas.openxmlformats.org/officeDocument/2006/relationships/image" Target="../media/image163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1.png"/><Relationship Id="rId4" Type="http://schemas.openxmlformats.org/officeDocument/2006/relationships/hyperlink" Target="mailto:info@ilpqc.org" TargetMode="Externa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.png"/><Relationship Id="rId2" Type="http://schemas.openxmlformats.org/officeDocument/2006/relationships/image" Target="../media/image16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8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png"/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13" Type="http://schemas.openxmlformats.org/officeDocument/2006/relationships/image" Target="../media/image133.png"/><Relationship Id="rId18" Type="http://schemas.openxmlformats.org/officeDocument/2006/relationships/image" Target="../media/image138.svg"/><Relationship Id="rId3" Type="http://schemas.openxmlformats.org/officeDocument/2006/relationships/image" Target="../media/image126.svg"/><Relationship Id="rId7" Type="http://schemas.openxmlformats.org/officeDocument/2006/relationships/image" Target="../media/image128.svg"/><Relationship Id="rId12" Type="http://schemas.openxmlformats.org/officeDocument/2006/relationships/image" Target="../media/image132.svg"/><Relationship Id="rId17" Type="http://schemas.openxmlformats.org/officeDocument/2006/relationships/image" Target="../media/image137.png"/><Relationship Id="rId2" Type="http://schemas.openxmlformats.org/officeDocument/2006/relationships/image" Target="../media/image125.png"/><Relationship Id="rId16" Type="http://schemas.openxmlformats.org/officeDocument/2006/relationships/image" Target="../media/image136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7.png"/><Relationship Id="rId11" Type="http://schemas.openxmlformats.org/officeDocument/2006/relationships/image" Target="../media/image113.png"/><Relationship Id="rId5" Type="http://schemas.openxmlformats.org/officeDocument/2006/relationships/image" Target="../media/image123.svg"/><Relationship Id="rId15" Type="http://schemas.openxmlformats.org/officeDocument/2006/relationships/image" Target="../media/image135.png"/><Relationship Id="rId10" Type="http://schemas.openxmlformats.org/officeDocument/2006/relationships/image" Target="../media/image131.png"/><Relationship Id="rId4" Type="http://schemas.openxmlformats.org/officeDocument/2006/relationships/image" Target="../media/image122.png"/><Relationship Id="rId9" Type="http://schemas.openxmlformats.org/officeDocument/2006/relationships/image" Target="../media/image130.svg"/><Relationship Id="rId14" Type="http://schemas.openxmlformats.org/officeDocument/2006/relationships/image" Target="../media/image134.sv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nam04.safelinks.protection.outlook.com/?url=https%3A%2F%2Fforms.gle%2F72PgRb99Ux1FLcnz6&amp;data=05%7C02%7CMH-TASKFORCE%40LISTSERV.UIC.EDU%7C95951cf87e084ceb47ce08dc4cde70fc%7Ce202cd477a564baa99e3e3b71a7c77dd%7C0%7C0%7C638469767517458383%7CUnknown%7CTWFpbGZsb3d8eyJWIjoiMC4wLjAwMDAiLCJQIjoiV2luMzIiLCJBTiI6Ik1haWwiLCJXVCI6Mn0%3D%7C0%7C%7C%7C&amp;sdata=vY8KVl2o11z5sjhsJjWVUq8A%2F8cXQp69wts43YqE8B8%3D&amp;reserved=0" TargetMode="External"/><Relationship Id="rId5" Type="http://schemas.openxmlformats.org/officeDocument/2006/relationships/hyperlink" Target="https://docs.google.com/forms/d/e/1FAIpQLSezQpmi5AGMM3iuKB6k4rVLCp98p-Ue3HiG-7c4kuj9mT2jkg/viewform" TargetMode="External"/><Relationship Id="rId4" Type="http://schemas.openxmlformats.org/officeDocument/2006/relationships/image" Target="../media/image173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5.png"/><Relationship Id="rId2" Type="http://schemas.openxmlformats.org/officeDocument/2006/relationships/image" Target="../media/image174.png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us06web.zoom.us/webinar/register/WN_ZrQV1O41QKiMYM3yTN2nAw#/" TargetMode="External"/><Relationship Id="rId4" Type="http://schemas.openxmlformats.org/officeDocument/2006/relationships/image" Target="../media/image176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8.png"/><Relationship Id="rId2" Type="http://schemas.openxmlformats.org/officeDocument/2006/relationships/image" Target="../media/image177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79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1.png"/><Relationship Id="rId2" Type="http://schemas.openxmlformats.org/officeDocument/2006/relationships/image" Target="../media/image180.png"/><Relationship Id="rId1" Type="http://schemas.openxmlformats.org/officeDocument/2006/relationships/slideLayout" Target="../slideLayouts/slideLayout20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20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hyperlink" Target="https://halosleep.wufoo.com/forms/z1ja3xn911xs96v/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83.png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5.sv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7.svg"/><Relationship Id="rId3" Type="http://schemas.openxmlformats.org/officeDocument/2006/relationships/diagramLayout" Target="../diagrams/layout3.xml"/><Relationship Id="rId7" Type="http://schemas.openxmlformats.org/officeDocument/2006/relationships/image" Target="../media/image186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10" Type="http://schemas.openxmlformats.org/officeDocument/2006/relationships/image" Target="../media/image189.svg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188.pn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10.xml"/><Relationship Id="rId6" Type="http://schemas.openxmlformats.org/officeDocument/2006/relationships/image" Target="../media/image193.png"/><Relationship Id="rId5" Type="http://schemas.openxmlformats.org/officeDocument/2006/relationships/image" Target="../media/image192.png"/><Relationship Id="rId4" Type="http://schemas.openxmlformats.org/officeDocument/2006/relationships/image" Target="../media/image191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7" Type="http://schemas.openxmlformats.org/officeDocument/2006/relationships/image" Target="../media/image77.sv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ilpqc.org" TargetMode="External"/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9.gi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1224" y="3173680"/>
            <a:ext cx="5194433" cy="1826339"/>
          </a:xfrm>
        </p:spPr>
        <p:txBody>
          <a:bodyPr/>
          <a:lstStyle/>
          <a:p>
            <a:pPr lvl="1" algn="ctr"/>
            <a:r>
              <a:rPr lang="en-US" sz="4800" b="1">
                <a:solidFill>
                  <a:srgbClr val="1C498B"/>
                </a:solidFill>
                <a:latin typeface="DM Sans"/>
                <a:ea typeface="+mj-lt"/>
                <a:cs typeface="+mj-lt"/>
              </a:rPr>
              <a:t>Equity and Safe Sleep for Infant</a:t>
            </a:r>
            <a:r>
              <a:rPr lang="en-US" sz="4800" b="1">
                <a:solidFill>
                  <a:schemeClr val="accent1"/>
                </a:solidFill>
                <a:latin typeface="DM Sans"/>
                <a:ea typeface="+mj-lt"/>
                <a:cs typeface="+mj-lt"/>
              </a:rPr>
              <a:t>s</a:t>
            </a:r>
            <a:br>
              <a:rPr lang="en-US" sz="4800" b="1">
                <a:latin typeface="DM Sans"/>
                <a:ea typeface="+mj-lt"/>
                <a:cs typeface="+mj-lt"/>
              </a:rPr>
            </a:br>
            <a:r>
              <a:rPr lang="en-US" sz="3200" b="1">
                <a:solidFill>
                  <a:schemeClr val="tx1"/>
                </a:solidFill>
                <a:latin typeface="DM Sans"/>
                <a:ea typeface="+mj-lt"/>
                <a:cs typeface="Calibri"/>
              </a:rPr>
              <a:t>Safe Sleep Environment Education and Implementation</a:t>
            </a:r>
            <a:br>
              <a:rPr lang="en-US" sz="3600">
                <a:latin typeface="DM Sans"/>
                <a:ea typeface="+mj-lt"/>
                <a:cs typeface="+mj-lt"/>
              </a:rPr>
            </a:br>
            <a:endParaRPr lang="en-US" sz="3600" b="0">
              <a:latin typeface="DM Sans"/>
              <a:cs typeface="Calibri"/>
            </a:endParaRPr>
          </a:p>
        </p:txBody>
      </p:sp>
      <p:pic>
        <p:nvPicPr>
          <p:cNvPr id="2" name="Picture 1" descr="A person holding a baby&#10;&#10;Description automatically generated">
            <a:extLst>
              <a:ext uri="{FF2B5EF4-FFF2-40B4-BE49-F238E27FC236}">
                <a16:creationId xmlns:a16="http://schemas.microsoft.com/office/drawing/2014/main" id="{0D7C69D0-240C-8322-D521-66F461EE341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3571" y="1815347"/>
            <a:ext cx="4425350" cy="289662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Subtitle 3">
            <a:extLst>
              <a:ext uri="{FF2B5EF4-FFF2-40B4-BE49-F238E27FC236}">
                <a16:creationId xmlns:a16="http://schemas.microsoft.com/office/drawing/2014/main" id="{7F20A429-9947-F447-2DF2-A5C17B5C6EC1}"/>
              </a:ext>
            </a:extLst>
          </p:cNvPr>
          <p:cNvSpPr>
            <a:spLocks noGrp="1"/>
          </p:cNvSpPr>
          <p:nvPr/>
        </p:nvSpPr>
        <p:spPr>
          <a:xfrm>
            <a:off x="1574463" y="4514450"/>
            <a:ext cx="5426907" cy="9865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latin typeface="DM Sans"/>
                <a:ea typeface="+mn-lt"/>
                <a:cs typeface="+mn-lt"/>
              </a:rPr>
              <a:t>April 15th, 2024 2:00 </a:t>
            </a:r>
            <a:r>
              <a:rPr lang="en-US">
                <a:latin typeface="Bierstadt Display"/>
                <a:ea typeface="+mn-lt"/>
                <a:cs typeface="+mn-lt"/>
              </a:rPr>
              <a:t>PM</a:t>
            </a:r>
            <a:r>
              <a:rPr lang="en-US">
                <a:latin typeface="DM Sans"/>
                <a:ea typeface="+mn-lt"/>
                <a:cs typeface="+mn-lt"/>
              </a:rPr>
              <a:t> </a:t>
            </a:r>
            <a:endParaRPr lang="en-US">
              <a:latin typeface="DM Sans"/>
            </a:endParaRPr>
          </a:p>
        </p:txBody>
      </p:sp>
      <p:grpSp>
        <p:nvGrpSpPr>
          <p:cNvPr id="7" name="Group 27">
            <a:extLst>
              <a:ext uri="{FF2B5EF4-FFF2-40B4-BE49-F238E27FC236}">
                <a16:creationId xmlns:a16="http://schemas.microsoft.com/office/drawing/2014/main" id="{63770316-A22E-98DA-7612-617DBB68472E}"/>
              </a:ext>
            </a:extLst>
          </p:cNvPr>
          <p:cNvGrpSpPr/>
          <p:nvPr/>
        </p:nvGrpSpPr>
        <p:grpSpPr>
          <a:xfrm>
            <a:off x="-415216" y="-654827"/>
            <a:ext cx="1368800" cy="1368800"/>
            <a:chOff x="0" y="0"/>
            <a:chExt cx="812800" cy="812800"/>
          </a:xfrm>
        </p:grpSpPr>
        <p:sp>
          <p:nvSpPr>
            <p:cNvPr id="5" name="Freeform 28">
              <a:extLst>
                <a:ext uri="{FF2B5EF4-FFF2-40B4-BE49-F238E27FC236}">
                  <a16:creationId xmlns:a16="http://schemas.microsoft.com/office/drawing/2014/main" id="{8E694DE2-D1B5-A619-19A6-0A53A2DE2074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" name="TextBox 29">
              <a:extLst>
                <a:ext uri="{FF2B5EF4-FFF2-40B4-BE49-F238E27FC236}">
                  <a16:creationId xmlns:a16="http://schemas.microsoft.com/office/drawing/2014/main" id="{FE263125-2206-7D72-1BC9-C4D15DED1BBE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</p:spTree>
    <p:extLst>
      <p:ext uri="{BB962C8B-B14F-4D97-AF65-F5344CB8AC3E}">
        <p14:creationId xmlns:p14="http://schemas.microsoft.com/office/powerpoint/2010/main" val="31279213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D2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755252" y="-42351"/>
            <a:ext cx="8647912" cy="6941844"/>
            <a:chOff x="0" y="0"/>
            <a:chExt cx="1149350" cy="1149350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9478270" cy="7608388"/>
            </a:xfrm>
            <a:custGeom>
              <a:avLst/>
              <a:gdLst/>
              <a:ahLst/>
              <a:cxnLst/>
              <a:rect l="l" t="t" r="r" b="b"/>
              <a:pathLst>
                <a:path w="9478270" h="7608388">
                  <a:moveTo>
                    <a:pt x="9478270" y="84071"/>
                  </a:moveTo>
                  <a:lnTo>
                    <a:pt x="9478270" y="0"/>
                  </a:lnTo>
                  <a:lnTo>
                    <a:pt x="52366" y="0"/>
                  </a:lnTo>
                  <a:lnTo>
                    <a:pt x="52366" y="42035"/>
                  </a:lnTo>
                  <a:lnTo>
                    <a:pt x="0" y="42035"/>
                  </a:lnTo>
                  <a:lnTo>
                    <a:pt x="0" y="7608388"/>
                  </a:lnTo>
                  <a:lnTo>
                    <a:pt x="104732" y="7608388"/>
                  </a:lnTo>
                  <a:lnTo>
                    <a:pt x="104732" y="6137152"/>
                  </a:lnTo>
                  <a:lnTo>
                    <a:pt x="1885181" y="6137152"/>
                  </a:lnTo>
                  <a:lnTo>
                    <a:pt x="1885181" y="7608388"/>
                  </a:lnTo>
                  <a:lnTo>
                    <a:pt x="1989913" y="7608388"/>
                  </a:lnTo>
                  <a:lnTo>
                    <a:pt x="1989913" y="6137152"/>
                  </a:lnTo>
                  <a:lnTo>
                    <a:pt x="3770362" y="6137152"/>
                  </a:lnTo>
                  <a:lnTo>
                    <a:pt x="3770362" y="7608388"/>
                  </a:lnTo>
                  <a:lnTo>
                    <a:pt x="3875094" y="7608388"/>
                  </a:lnTo>
                  <a:lnTo>
                    <a:pt x="3875094" y="6137152"/>
                  </a:lnTo>
                  <a:lnTo>
                    <a:pt x="5655542" y="6137152"/>
                  </a:lnTo>
                  <a:lnTo>
                    <a:pt x="5655542" y="7608388"/>
                  </a:lnTo>
                  <a:lnTo>
                    <a:pt x="5760275" y="7608388"/>
                  </a:lnTo>
                  <a:lnTo>
                    <a:pt x="5760275" y="6137152"/>
                  </a:lnTo>
                  <a:lnTo>
                    <a:pt x="7540723" y="6137152"/>
                  </a:lnTo>
                  <a:lnTo>
                    <a:pt x="7540723" y="7608388"/>
                  </a:lnTo>
                  <a:lnTo>
                    <a:pt x="7645456" y="7608388"/>
                  </a:lnTo>
                  <a:lnTo>
                    <a:pt x="7645456" y="6137152"/>
                  </a:lnTo>
                  <a:lnTo>
                    <a:pt x="9478270" y="6137152"/>
                  </a:lnTo>
                  <a:lnTo>
                    <a:pt x="9478270" y="6053082"/>
                  </a:lnTo>
                  <a:lnTo>
                    <a:pt x="7645456" y="6053082"/>
                  </a:lnTo>
                  <a:lnTo>
                    <a:pt x="7645456" y="4623882"/>
                  </a:lnTo>
                  <a:lnTo>
                    <a:pt x="9478270" y="4623882"/>
                  </a:lnTo>
                  <a:lnTo>
                    <a:pt x="9478270" y="4539811"/>
                  </a:lnTo>
                  <a:lnTo>
                    <a:pt x="7645456" y="4539811"/>
                  </a:lnTo>
                  <a:lnTo>
                    <a:pt x="7645456" y="3110611"/>
                  </a:lnTo>
                  <a:lnTo>
                    <a:pt x="9478270" y="3110611"/>
                  </a:lnTo>
                  <a:lnTo>
                    <a:pt x="9478270" y="3026541"/>
                  </a:lnTo>
                  <a:lnTo>
                    <a:pt x="7645456" y="3026541"/>
                  </a:lnTo>
                  <a:lnTo>
                    <a:pt x="7645456" y="1597341"/>
                  </a:lnTo>
                  <a:lnTo>
                    <a:pt x="9478270" y="1597341"/>
                  </a:lnTo>
                  <a:lnTo>
                    <a:pt x="9478270" y="1513270"/>
                  </a:lnTo>
                  <a:lnTo>
                    <a:pt x="7645456" y="1513270"/>
                  </a:lnTo>
                  <a:lnTo>
                    <a:pt x="7645456" y="84071"/>
                  </a:lnTo>
                  <a:lnTo>
                    <a:pt x="9478270" y="84071"/>
                  </a:lnTo>
                  <a:close/>
                  <a:moveTo>
                    <a:pt x="1989913" y="1513270"/>
                  </a:moveTo>
                  <a:lnTo>
                    <a:pt x="1989913" y="84071"/>
                  </a:lnTo>
                  <a:lnTo>
                    <a:pt x="3770362" y="84071"/>
                  </a:lnTo>
                  <a:lnTo>
                    <a:pt x="3770362" y="1513270"/>
                  </a:lnTo>
                  <a:lnTo>
                    <a:pt x="1989913" y="1513270"/>
                  </a:lnTo>
                  <a:close/>
                  <a:moveTo>
                    <a:pt x="3770362" y="1597341"/>
                  </a:moveTo>
                  <a:lnTo>
                    <a:pt x="3770362" y="3026541"/>
                  </a:lnTo>
                  <a:lnTo>
                    <a:pt x="1989913" y="3026541"/>
                  </a:lnTo>
                  <a:lnTo>
                    <a:pt x="1989913" y="1597341"/>
                  </a:lnTo>
                  <a:lnTo>
                    <a:pt x="3770362" y="1597341"/>
                  </a:lnTo>
                  <a:close/>
                  <a:moveTo>
                    <a:pt x="1885181" y="1513270"/>
                  </a:moveTo>
                  <a:lnTo>
                    <a:pt x="104732" y="1513270"/>
                  </a:lnTo>
                  <a:lnTo>
                    <a:pt x="104732" y="84071"/>
                  </a:lnTo>
                  <a:lnTo>
                    <a:pt x="1885181" y="84071"/>
                  </a:lnTo>
                  <a:lnTo>
                    <a:pt x="1885181" y="1513270"/>
                  </a:lnTo>
                  <a:close/>
                  <a:moveTo>
                    <a:pt x="1885181" y="1597341"/>
                  </a:moveTo>
                  <a:lnTo>
                    <a:pt x="1885181" y="3026541"/>
                  </a:lnTo>
                  <a:lnTo>
                    <a:pt x="104732" y="3026541"/>
                  </a:lnTo>
                  <a:lnTo>
                    <a:pt x="104732" y="1597341"/>
                  </a:lnTo>
                  <a:lnTo>
                    <a:pt x="1885181" y="1597341"/>
                  </a:lnTo>
                  <a:close/>
                  <a:moveTo>
                    <a:pt x="1885181" y="3110611"/>
                  </a:moveTo>
                  <a:lnTo>
                    <a:pt x="1885181" y="4539811"/>
                  </a:lnTo>
                  <a:lnTo>
                    <a:pt x="104732" y="4539811"/>
                  </a:lnTo>
                  <a:lnTo>
                    <a:pt x="104732" y="3110611"/>
                  </a:lnTo>
                  <a:lnTo>
                    <a:pt x="1885181" y="3110611"/>
                  </a:lnTo>
                  <a:close/>
                  <a:moveTo>
                    <a:pt x="1989913" y="3110611"/>
                  </a:moveTo>
                  <a:lnTo>
                    <a:pt x="3770362" y="3110611"/>
                  </a:lnTo>
                  <a:lnTo>
                    <a:pt x="3770362" y="4539811"/>
                  </a:lnTo>
                  <a:lnTo>
                    <a:pt x="1989913" y="4539811"/>
                  </a:lnTo>
                  <a:lnTo>
                    <a:pt x="1989913" y="3110611"/>
                  </a:lnTo>
                  <a:close/>
                  <a:moveTo>
                    <a:pt x="3875094" y="3110611"/>
                  </a:moveTo>
                  <a:lnTo>
                    <a:pt x="5655542" y="3110611"/>
                  </a:lnTo>
                  <a:lnTo>
                    <a:pt x="5655542" y="4539811"/>
                  </a:lnTo>
                  <a:lnTo>
                    <a:pt x="3875094" y="4539811"/>
                  </a:lnTo>
                  <a:lnTo>
                    <a:pt x="3875094" y="3110611"/>
                  </a:lnTo>
                  <a:close/>
                  <a:moveTo>
                    <a:pt x="3875094" y="3026541"/>
                  </a:moveTo>
                  <a:lnTo>
                    <a:pt x="3875094" y="1597341"/>
                  </a:lnTo>
                  <a:lnTo>
                    <a:pt x="5655542" y="1597341"/>
                  </a:lnTo>
                  <a:lnTo>
                    <a:pt x="5655542" y="3026541"/>
                  </a:lnTo>
                  <a:lnTo>
                    <a:pt x="3875094" y="3026541"/>
                  </a:lnTo>
                  <a:close/>
                  <a:moveTo>
                    <a:pt x="3875094" y="1513270"/>
                  </a:moveTo>
                  <a:lnTo>
                    <a:pt x="3875094" y="84071"/>
                  </a:lnTo>
                  <a:lnTo>
                    <a:pt x="5655542" y="84071"/>
                  </a:lnTo>
                  <a:lnTo>
                    <a:pt x="5655542" y="1513270"/>
                  </a:lnTo>
                  <a:lnTo>
                    <a:pt x="3875094" y="1513270"/>
                  </a:lnTo>
                  <a:close/>
                  <a:moveTo>
                    <a:pt x="104732" y="6053082"/>
                  </a:moveTo>
                  <a:lnTo>
                    <a:pt x="104732" y="4623882"/>
                  </a:lnTo>
                  <a:lnTo>
                    <a:pt x="1885181" y="4623882"/>
                  </a:lnTo>
                  <a:lnTo>
                    <a:pt x="1885181" y="6053082"/>
                  </a:lnTo>
                  <a:lnTo>
                    <a:pt x="104732" y="6053082"/>
                  </a:lnTo>
                  <a:close/>
                  <a:moveTo>
                    <a:pt x="1989913" y="6053082"/>
                  </a:moveTo>
                  <a:lnTo>
                    <a:pt x="1989913" y="4623882"/>
                  </a:lnTo>
                  <a:lnTo>
                    <a:pt x="3770362" y="4623882"/>
                  </a:lnTo>
                  <a:lnTo>
                    <a:pt x="3770362" y="6053082"/>
                  </a:lnTo>
                  <a:lnTo>
                    <a:pt x="1989913" y="6053082"/>
                  </a:lnTo>
                  <a:close/>
                  <a:moveTo>
                    <a:pt x="3875094" y="6053082"/>
                  </a:moveTo>
                  <a:lnTo>
                    <a:pt x="3875094" y="4623882"/>
                  </a:lnTo>
                  <a:lnTo>
                    <a:pt x="5655542" y="4623882"/>
                  </a:lnTo>
                  <a:lnTo>
                    <a:pt x="5655542" y="6053082"/>
                  </a:lnTo>
                  <a:lnTo>
                    <a:pt x="3875094" y="6053082"/>
                  </a:lnTo>
                  <a:close/>
                  <a:moveTo>
                    <a:pt x="7540723" y="6053082"/>
                  </a:moveTo>
                  <a:lnTo>
                    <a:pt x="5760275" y="6053082"/>
                  </a:lnTo>
                  <a:lnTo>
                    <a:pt x="5760275" y="4623882"/>
                  </a:lnTo>
                  <a:lnTo>
                    <a:pt x="7540723" y="4623882"/>
                  </a:lnTo>
                  <a:lnTo>
                    <a:pt x="7540723" y="6053082"/>
                  </a:lnTo>
                  <a:close/>
                  <a:moveTo>
                    <a:pt x="7540723" y="4539811"/>
                  </a:moveTo>
                  <a:lnTo>
                    <a:pt x="5760275" y="4539811"/>
                  </a:lnTo>
                  <a:lnTo>
                    <a:pt x="5760275" y="3110611"/>
                  </a:lnTo>
                  <a:lnTo>
                    <a:pt x="7540723" y="3110611"/>
                  </a:lnTo>
                  <a:lnTo>
                    <a:pt x="7540723" y="4539811"/>
                  </a:lnTo>
                  <a:close/>
                  <a:moveTo>
                    <a:pt x="7540723" y="3026541"/>
                  </a:moveTo>
                  <a:lnTo>
                    <a:pt x="5760275" y="3026541"/>
                  </a:lnTo>
                  <a:lnTo>
                    <a:pt x="5760275" y="1597341"/>
                  </a:lnTo>
                  <a:lnTo>
                    <a:pt x="7540723" y="1597341"/>
                  </a:lnTo>
                  <a:lnTo>
                    <a:pt x="7540723" y="3026541"/>
                  </a:lnTo>
                  <a:close/>
                  <a:moveTo>
                    <a:pt x="7540723" y="1513270"/>
                  </a:moveTo>
                  <a:lnTo>
                    <a:pt x="5760275" y="1513270"/>
                  </a:lnTo>
                  <a:lnTo>
                    <a:pt x="5760275" y="84071"/>
                  </a:lnTo>
                  <a:lnTo>
                    <a:pt x="7540723" y="84071"/>
                  </a:lnTo>
                  <a:lnTo>
                    <a:pt x="7540723" y="1513270"/>
                  </a:lnTo>
                  <a:close/>
                </a:path>
              </a:pathLst>
            </a:custGeom>
            <a:solidFill>
              <a:srgbClr val="FF5757">
                <a:alpha val="19608"/>
              </a:srgbClr>
            </a:solid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4" name="Group 4"/>
          <p:cNvGrpSpPr>
            <a:grpSpLocks noChangeAspect="1"/>
          </p:cNvGrpSpPr>
          <p:nvPr/>
        </p:nvGrpSpPr>
        <p:grpSpPr>
          <a:xfrm>
            <a:off x="2206229" y="2120342"/>
            <a:ext cx="2529988" cy="3892648"/>
            <a:chOff x="0" y="0"/>
            <a:chExt cx="4128770" cy="6352540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4130040" cy="6352540"/>
            </a:xfrm>
            <a:custGeom>
              <a:avLst/>
              <a:gdLst/>
              <a:ahLst/>
              <a:cxnLst/>
              <a:rect l="l" t="t" r="r" b="b"/>
              <a:pathLst>
                <a:path w="4130040" h="6352540">
                  <a:moveTo>
                    <a:pt x="4130040" y="8890"/>
                  </a:moveTo>
                  <a:lnTo>
                    <a:pt x="4130040" y="6344920"/>
                  </a:lnTo>
                  <a:cubicBezTo>
                    <a:pt x="4128770" y="6348730"/>
                    <a:pt x="4124960" y="6352540"/>
                    <a:pt x="4119880" y="6352540"/>
                  </a:cubicBezTo>
                  <a:lnTo>
                    <a:pt x="8890" y="6352540"/>
                  </a:lnTo>
                  <a:cubicBezTo>
                    <a:pt x="3810" y="6352540"/>
                    <a:pt x="0" y="6348730"/>
                    <a:pt x="0" y="6343650"/>
                  </a:cubicBezTo>
                  <a:lnTo>
                    <a:pt x="0" y="8890"/>
                  </a:lnTo>
                  <a:cubicBezTo>
                    <a:pt x="0" y="3810"/>
                    <a:pt x="3810" y="0"/>
                    <a:pt x="8890" y="0"/>
                  </a:cubicBezTo>
                  <a:lnTo>
                    <a:pt x="4121150" y="0"/>
                  </a:lnTo>
                  <a:cubicBezTo>
                    <a:pt x="4126230" y="0"/>
                    <a:pt x="4130040" y="3810"/>
                    <a:pt x="4130040" y="8890"/>
                  </a:cubicBez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6" name="Freeform 6"/>
            <p:cNvSpPr/>
            <p:nvPr/>
          </p:nvSpPr>
          <p:spPr>
            <a:xfrm>
              <a:off x="67437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7" name="Freeform 7"/>
            <p:cNvSpPr/>
            <p:nvPr/>
          </p:nvSpPr>
          <p:spPr>
            <a:xfrm>
              <a:off x="3806190" y="87630"/>
              <a:ext cx="179070" cy="179070"/>
            </a:xfrm>
            <a:custGeom>
              <a:avLst/>
              <a:gdLst/>
              <a:ahLst/>
              <a:cxnLst/>
              <a:rect l="l" t="t" r="r" b="b"/>
              <a:pathLst>
                <a:path w="179070" h="179070">
                  <a:moveTo>
                    <a:pt x="179070" y="179070"/>
                  </a:moveTo>
                  <a:lnTo>
                    <a:pt x="179070" y="0"/>
                  </a:lnTo>
                  <a:lnTo>
                    <a:pt x="0" y="0"/>
                  </a:lnTo>
                  <a:lnTo>
                    <a:pt x="0" y="179070"/>
                  </a:lnTo>
                  <a:lnTo>
                    <a:pt x="179070" y="179070"/>
                  </a:lnTo>
                  <a:close/>
                  <a:moveTo>
                    <a:pt x="36830" y="49530"/>
                  </a:moveTo>
                  <a:cubicBezTo>
                    <a:pt x="33020" y="46990"/>
                    <a:pt x="33020" y="41910"/>
                    <a:pt x="36830" y="38100"/>
                  </a:cubicBezTo>
                  <a:cubicBezTo>
                    <a:pt x="39370" y="34290"/>
                    <a:pt x="44450" y="34290"/>
                    <a:pt x="48260" y="38100"/>
                  </a:cubicBezTo>
                  <a:lnTo>
                    <a:pt x="88900" y="78740"/>
                  </a:lnTo>
                  <a:lnTo>
                    <a:pt x="129540" y="38100"/>
                  </a:lnTo>
                  <a:cubicBezTo>
                    <a:pt x="132080" y="34290"/>
                    <a:pt x="137160" y="34290"/>
                    <a:pt x="140970" y="38100"/>
                  </a:cubicBezTo>
                  <a:cubicBezTo>
                    <a:pt x="144780" y="40640"/>
                    <a:pt x="144780" y="45720"/>
                    <a:pt x="140970" y="49530"/>
                  </a:cubicBezTo>
                  <a:lnTo>
                    <a:pt x="100330" y="90170"/>
                  </a:lnTo>
                  <a:lnTo>
                    <a:pt x="140970" y="130810"/>
                  </a:lnTo>
                  <a:cubicBezTo>
                    <a:pt x="144780" y="133350"/>
                    <a:pt x="144780" y="138430"/>
                    <a:pt x="140970" y="142240"/>
                  </a:cubicBezTo>
                  <a:cubicBezTo>
                    <a:pt x="139700" y="143510"/>
                    <a:pt x="137160" y="143510"/>
                    <a:pt x="135890" y="144780"/>
                  </a:cubicBezTo>
                  <a:cubicBezTo>
                    <a:pt x="133350" y="144780"/>
                    <a:pt x="130810" y="143510"/>
                    <a:pt x="129540" y="142240"/>
                  </a:cubicBezTo>
                  <a:lnTo>
                    <a:pt x="88900" y="101600"/>
                  </a:lnTo>
                  <a:lnTo>
                    <a:pt x="48260" y="142240"/>
                  </a:lnTo>
                  <a:cubicBezTo>
                    <a:pt x="45720" y="143510"/>
                    <a:pt x="44450" y="143510"/>
                    <a:pt x="43180" y="144780"/>
                  </a:cubicBezTo>
                  <a:cubicBezTo>
                    <a:pt x="40640" y="144780"/>
                    <a:pt x="38100" y="143510"/>
                    <a:pt x="36830" y="142240"/>
                  </a:cubicBezTo>
                  <a:cubicBezTo>
                    <a:pt x="33020" y="139700"/>
                    <a:pt x="33020" y="134620"/>
                    <a:pt x="36830" y="130810"/>
                  </a:cubicBezTo>
                  <a:lnTo>
                    <a:pt x="77470" y="90170"/>
                  </a:lnTo>
                  <a:lnTo>
                    <a:pt x="36830" y="49530"/>
                  </a:ln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8"/>
            <p:cNvSpPr/>
            <p:nvPr/>
          </p:nvSpPr>
          <p:spPr>
            <a:xfrm>
              <a:off x="16383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49530" y="26670"/>
                    <a:pt x="2667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9"/>
            <p:cNvSpPr/>
            <p:nvPr/>
          </p:nvSpPr>
          <p:spPr>
            <a:xfrm>
              <a:off x="41910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0"/>
            <p:cNvSpPr/>
            <p:nvPr/>
          </p:nvSpPr>
          <p:spPr>
            <a:xfrm>
              <a:off x="16510" y="16510"/>
              <a:ext cx="4094480" cy="321310"/>
            </a:xfrm>
            <a:custGeom>
              <a:avLst/>
              <a:gdLst/>
              <a:ahLst/>
              <a:cxnLst/>
              <a:rect l="l" t="t" r="r" b="b"/>
              <a:pathLst>
                <a:path w="4094480" h="321310">
                  <a:moveTo>
                    <a:pt x="0" y="0"/>
                  </a:moveTo>
                  <a:lnTo>
                    <a:pt x="0" y="321310"/>
                  </a:lnTo>
                  <a:lnTo>
                    <a:pt x="4094480" y="321310"/>
                  </a:lnTo>
                  <a:lnTo>
                    <a:pt x="4094480" y="0"/>
                  </a:lnTo>
                  <a:lnTo>
                    <a:pt x="0" y="0"/>
                  </a:lnTo>
                  <a:close/>
                  <a:moveTo>
                    <a:pt x="311150" y="168910"/>
                  </a:moveTo>
                  <a:cubicBezTo>
                    <a:pt x="264160" y="168910"/>
                    <a:pt x="218440" y="214630"/>
                    <a:pt x="218440" y="261620"/>
                  </a:cubicBezTo>
                  <a:cubicBezTo>
                    <a:pt x="217170" y="266700"/>
                    <a:pt x="213360" y="270510"/>
                    <a:pt x="209550" y="270510"/>
                  </a:cubicBezTo>
                  <a:cubicBezTo>
                    <a:pt x="204470" y="270510"/>
                    <a:pt x="200660" y="266700"/>
                    <a:pt x="200660" y="261620"/>
                  </a:cubicBezTo>
                  <a:cubicBezTo>
                    <a:pt x="200660" y="214630"/>
                    <a:pt x="154940" y="168910"/>
                    <a:pt x="107950" y="168910"/>
                  </a:cubicBezTo>
                  <a:cubicBezTo>
                    <a:pt x="102870" y="168910"/>
                    <a:pt x="99060" y="165100"/>
                    <a:pt x="99060" y="160020"/>
                  </a:cubicBezTo>
                  <a:cubicBezTo>
                    <a:pt x="99060" y="154940"/>
                    <a:pt x="102870" y="151130"/>
                    <a:pt x="107950" y="151130"/>
                  </a:cubicBezTo>
                  <a:cubicBezTo>
                    <a:pt x="154940" y="151130"/>
                    <a:pt x="200660" y="105410"/>
                    <a:pt x="200660" y="58420"/>
                  </a:cubicBezTo>
                  <a:cubicBezTo>
                    <a:pt x="200660" y="53340"/>
                    <a:pt x="204470" y="49530"/>
                    <a:pt x="209550" y="49530"/>
                  </a:cubicBezTo>
                  <a:cubicBezTo>
                    <a:pt x="214630" y="49530"/>
                    <a:pt x="218440" y="53340"/>
                    <a:pt x="218440" y="58420"/>
                  </a:cubicBezTo>
                  <a:cubicBezTo>
                    <a:pt x="218440" y="105410"/>
                    <a:pt x="264160" y="151130"/>
                    <a:pt x="311150" y="151130"/>
                  </a:cubicBezTo>
                  <a:cubicBezTo>
                    <a:pt x="316230" y="151130"/>
                    <a:pt x="320040" y="154940"/>
                    <a:pt x="320040" y="160020"/>
                  </a:cubicBezTo>
                  <a:cubicBezTo>
                    <a:pt x="320040" y="165100"/>
                    <a:pt x="316230" y="168910"/>
                    <a:pt x="311150" y="168910"/>
                  </a:cubicBezTo>
                  <a:close/>
                  <a:moveTo>
                    <a:pt x="566420" y="168910"/>
                  </a:moveTo>
                  <a:cubicBezTo>
                    <a:pt x="519430" y="168910"/>
                    <a:pt x="473710" y="214630"/>
                    <a:pt x="473710" y="261620"/>
                  </a:cubicBezTo>
                  <a:cubicBezTo>
                    <a:pt x="473710" y="266700"/>
                    <a:pt x="469900" y="270510"/>
                    <a:pt x="464820" y="270510"/>
                  </a:cubicBezTo>
                  <a:cubicBezTo>
                    <a:pt x="459740" y="270510"/>
                    <a:pt x="455930" y="266700"/>
                    <a:pt x="455930" y="261620"/>
                  </a:cubicBezTo>
                  <a:cubicBezTo>
                    <a:pt x="455930" y="214630"/>
                    <a:pt x="410210" y="168910"/>
                    <a:pt x="363220" y="168910"/>
                  </a:cubicBezTo>
                  <a:cubicBezTo>
                    <a:pt x="358140" y="168910"/>
                    <a:pt x="354330" y="165100"/>
                    <a:pt x="354330" y="160020"/>
                  </a:cubicBezTo>
                  <a:cubicBezTo>
                    <a:pt x="354330" y="154940"/>
                    <a:pt x="358140" y="151130"/>
                    <a:pt x="363220" y="151130"/>
                  </a:cubicBezTo>
                  <a:cubicBezTo>
                    <a:pt x="410210" y="151130"/>
                    <a:pt x="455930" y="105410"/>
                    <a:pt x="455930" y="58420"/>
                  </a:cubicBezTo>
                  <a:cubicBezTo>
                    <a:pt x="455930" y="53340"/>
                    <a:pt x="459740" y="49530"/>
                    <a:pt x="464820" y="49530"/>
                  </a:cubicBezTo>
                  <a:cubicBezTo>
                    <a:pt x="469900" y="49530"/>
                    <a:pt x="473710" y="53340"/>
                    <a:pt x="473710" y="58420"/>
                  </a:cubicBezTo>
                  <a:cubicBezTo>
                    <a:pt x="473710" y="105410"/>
                    <a:pt x="519430" y="151130"/>
                    <a:pt x="566420" y="151130"/>
                  </a:cubicBezTo>
                  <a:cubicBezTo>
                    <a:pt x="571500" y="151130"/>
                    <a:pt x="575310" y="154940"/>
                    <a:pt x="575310" y="160020"/>
                  </a:cubicBezTo>
                  <a:cubicBezTo>
                    <a:pt x="575310" y="165100"/>
                    <a:pt x="571500" y="168910"/>
                    <a:pt x="566420" y="168910"/>
                  </a:cubicBezTo>
                  <a:close/>
                  <a:moveTo>
                    <a:pt x="821690" y="168910"/>
                  </a:moveTo>
                  <a:cubicBezTo>
                    <a:pt x="774700" y="168910"/>
                    <a:pt x="728980" y="214630"/>
                    <a:pt x="728980" y="261620"/>
                  </a:cubicBezTo>
                  <a:cubicBezTo>
                    <a:pt x="728980" y="266700"/>
                    <a:pt x="725170" y="270510"/>
                    <a:pt x="720090" y="270510"/>
                  </a:cubicBezTo>
                  <a:cubicBezTo>
                    <a:pt x="715010" y="270510"/>
                    <a:pt x="711200" y="266700"/>
                    <a:pt x="711200" y="261620"/>
                  </a:cubicBezTo>
                  <a:cubicBezTo>
                    <a:pt x="711200" y="214630"/>
                    <a:pt x="665480" y="168910"/>
                    <a:pt x="618490" y="168910"/>
                  </a:cubicBezTo>
                  <a:cubicBezTo>
                    <a:pt x="613410" y="168910"/>
                    <a:pt x="609600" y="165100"/>
                    <a:pt x="609600" y="160020"/>
                  </a:cubicBezTo>
                  <a:cubicBezTo>
                    <a:pt x="609600" y="154940"/>
                    <a:pt x="613410" y="151130"/>
                    <a:pt x="618490" y="151130"/>
                  </a:cubicBezTo>
                  <a:cubicBezTo>
                    <a:pt x="665480" y="151130"/>
                    <a:pt x="711200" y="105410"/>
                    <a:pt x="711200" y="58420"/>
                  </a:cubicBezTo>
                  <a:cubicBezTo>
                    <a:pt x="711200" y="53340"/>
                    <a:pt x="715010" y="49530"/>
                    <a:pt x="720090" y="49530"/>
                  </a:cubicBezTo>
                  <a:cubicBezTo>
                    <a:pt x="725170" y="49530"/>
                    <a:pt x="728980" y="53340"/>
                    <a:pt x="728980" y="58420"/>
                  </a:cubicBezTo>
                  <a:cubicBezTo>
                    <a:pt x="728980" y="105410"/>
                    <a:pt x="774700" y="151130"/>
                    <a:pt x="821690" y="151130"/>
                  </a:cubicBezTo>
                  <a:cubicBezTo>
                    <a:pt x="826770" y="151130"/>
                    <a:pt x="830580" y="154940"/>
                    <a:pt x="830580" y="160020"/>
                  </a:cubicBezTo>
                  <a:cubicBezTo>
                    <a:pt x="830580" y="165100"/>
                    <a:pt x="826770" y="168910"/>
                    <a:pt x="821690" y="168910"/>
                  </a:cubicBezTo>
                  <a:close/>
                  <a:moveTo>
                    <a:pt x="3986530" y="259080"/>
                  </a:moveTo>
                  <a:cubicBezTo>
                    <a:pt x="3985260" y="264160"/>
                    <a:pt x="3981450" y="267970"/>
                    <a:pt x="3976370" y="267970"/>
                  </a:cubicBezTo>
                  <a:lnTo>
                    <a:pt x="3780790" y="267970"/>
                  </a:lnTo>
                  <a:cubicBezTo>
                    <a:pt x="3775710" y="267970"/>
                    <a:pt x="3771900" y="264160"/>
                    <a:pt x="3771900" y="259080"/>
                  </a:cubicBezTo>
                  <a:lnTo>
                    <a:pt x="3771900" y="62230"/>
                  </a:lnTo>
                  <a:cubicBezTo>
                    <a:pt x="3771900" y="57150"/>
                    <a:pt x="3775710" y="53340"/>
                    <a:pt x="3780790" y="53340"/>
                  </a:cubicBezTo>
                  <a:lnTo>
                    <a:pt x="3977640" y="53340"/>
                  </a:lnTo>
                  <a:cubicBezTo>
                    <a:pt x="3982720" y="53340"/>
                    <a:pt x="3986530" y="57150"/>
                    <a:pt x="3986530" y="62230"/>
                  </a:cubicBezTo>
                  <a:lnTo>
                    <a:pt x="3986530" y="259080"/>
                  </a:lnTo>
                  <a:close/>
                </a:path>
              </a:pathLst>
            </a:custGeom>
            <a:solidFill>
              <a:srgbClr val="00C6CA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1"/>
            <p:cNvSpPr/>
            <p:nvPr/>
          </p:nvSpPr>
          <p:spPr>
            <a:xfrm>
              <a:off x="16510" y="354330"/>
              <a:ext cx="4094480" cy="5981700"/>
            </a:xfrm>
            <a:custGeom>
              <a:avLst/>
              <a:gdLst/>
              <a:ahLst/>
              <a:cxnLst/>
              <a:rect l="l" t="t" r="r" b="b"/>
              <a:pathLst>
                <a:path w="4094480" h="5981700">
                  <a:moveTo>
                    <a:pt x="0" y="0"/>
                  </a:moveTo>
                  <a:lnTo>
                    <a:pt x="4094480" y="0"/>
                  </a:lnTo>
                  <a:lnTo>
                    <a:pt x="4094480" y="5981700"/>
                  </a:lnTo>
                  <a:lnTo>
                    <a:pt x="0" y="598170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2" name="Group 12"/>
          <p:cNvGrpSpPr>
            <a:grpSpLocks noChangeAspect="1"/>
          </p:cNvGrpSpPr>
          <p:nvPr/>
        </p:nvGrpSpPr>
        <p:grpSpPr>
          <a:xfrm>
            <a:off x="4838982" y="2120342"/>
            <a:ext cx="2529988" cy="3892648"/>
            <a:chOff x="0" y="0"/>
            <a:chExt cx="4128770" cy="6352540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4130040" cy="6352540"/>
            </a:xfrm>
            <a:custGeom>
              <a:avLst/>
              <a:gdLst/>
              <a:ahLst/>
              <a:cxnLst/>
              <a:rect l="l" t="t" r="r" b="b"/>
              <a:pathLst>
                <a:path w="4130040" h="6352540">
                  <a:moveTo>
                    <a:pt x="4130040" y="8890"/>
                  </a:moveTo>
                  <a:lnTo>
                    <a:pt x="4130040" y="6344920"/>
                  </a:lnTo>
                  <a:cubicBezTo>
                    <a:pt x="4128770" y="6348730"/>
                    <a:pt x="4124960" y="6352540"/>
                    <a:pt x="4119880" y="6352540"/>
                  </a:cubicBezTo>
                  <a:lnTo>
                    <a:pt x="8890" y="6352540"/>
                  </a:lnTo>
                  <a:cubicBezTo>
                    <a:pt x="3810" y="6352540"/>
                    <a:pt x="0" y="6348730"/>
                    <a:pt x="0" y="6343650"/>
                  </a:cubicBezTo>
                  <a:lnTo>
                    <a:pt x="0" y="8890"/>
                  </a:lnTo>
                  <a:cubicBezTo>
                    <a:pt x="0" y="3810"/>
                    <a:pt x="3810" y="0"/>
                    <a:pt x="8890" y="0"/>
                  </a:cubicBezTo>
                  <a:lnTo>
                    <a:pt x="4121150" y="0"/>
                  </a:lnTo>
                  <a:cubicBezTo>
                    <a:pt x="4126230" y="0"/>
                    <a:pt x="4130040" y="3810"/>
                    <a:pt x="4130040" y="8890"/>
                  </a:cubicBez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14"/>
            <p:cNvSpPr/>
            <p:nvPr/>
          </p:nvSpPr>
          <p:spPr>
            <a:xfrm>
              <a:off x="67437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15"/>
            <p:cNvSpPr/>
            <p:nvPr/>
          </p:nvSpPr>
          <p:spPr>
            <a:xfrm>
              <a:off x="3806190" y="87630"/>
              <a:ext cx="179070" cy="179070"/>
            </a:xfrm>
            <a:custGeom>
              <a:avLst/>
              <a:gdLst/>
              <a:ahLst/>
              <a:cxnLst/>
              <a:rect l="l" t="t" r="r" b="b"/>
              <a:pathLst>
                <a:path w="179070" h="179070">
                  <a:moveTo>
                    <a:pt x="179070" y="179070"/>
                  </a:moveTo>
                  <a:lnTo>
                    <a:pt x="179070" y="0"/>
                  </a:lnTo>
                  <a:lnTo>
                    <a:pt x="0" y="0"/>
                  </a:lnTo>
                  <a:lnTo>
                    <a:pt x="0" y="179070"/>
                  </a:lnTo>
                  <a:lnTo>
                    <a:pt x="179070" y="179070"/>
                  </a:lnTo>
                  <a:close/>
                  <a:moveTo>
                    <a:pt x="36830" y="49530"/>
                  </a:moveTo>
                  <a:cubicBezTo>
                    <a:pt x="33020" y="46990"/>
                    <a:pt x="33020" y="41910"/>
                    <a:pt x="36830" y="38100"/>
                  </a:cubicBezTo>
                  <a:cubicBezTo>
                    <a:pt x="39370" y="34290"/>
                    <a:pt x="44450" y="34290"/>
                    <a:pt x="48260" y="38100"/>
                  </a:cubicBezTo>
                  <a:lnTo>
                    <a:pt x="88900" y="78740"/>
                  </a:lnTo>
                  <a:lnTo>
                    <a:pt x="129540" y="38100"/>
                  </a:lnTo>
                  <a:cubicBezTo>
                    <a:pt x="132080" y="34290"/>
                    <a:pt x="137160" y="34290"/>
                    <a:pt x="140970" y="38100"/>
                  </a:cubicBezTo>
                  <a:cubicBezTo>
                    <a:pt x="144780" y="40640"/>
                    <a:pt x="144780" y="45720"/>
                    <a:pt x="140970" y="49530"/>
                  </a:cubicBezTo>
                  <a:lnTo>
                    <a:pt x="100330" y="90170"/>
                  </a:lnTo>
                  <a:lnTo>
                    <a:pt x="140970" y="130810"/>
                  </a:lnTo>
                  <a:cubicBezTo>
                    <a:pt x="144780" y="133350"/>
                    <a:pt x="144780" y="138430"/>
                    <a:pt x="140970" y="142240"/>
                  </a:cubicBezTo>
                  <a:cubicBezTo>
                    <a:pt x="139700" y="143510"/>
                    <a:pt x="137160" y="143510"/>
                    <a:pt x="135890" y="144780"/>
                  </a:cubicBezTo>
                  <a:cubicBezTo>
                    <a:pt x="133350" y="144780"/>
                    <a:pt x="130810" y="143510"/>
                    <a:pt x="129540" y="142240"/>
                  </a:cubicBezTo>
                  <a:lnTo>
                    <a:pt x="88900" y="101600"/>
                  </a:lnTo>
                  <a:lnTo>
                    <a:pt x="48260" y="142240"/>
                  </a:lnTo>
                  <a:cubicBezTo>
                    <a:pt x="45720" y="143510"/>
                    <a:pt x="44450" y="143510"/>
                    <a:pt x="43180" y="144780"/>
                  </a:cubicBezTo>
                  <a:cubicBezTo>
                    <a:pt x="40640" y="144780"/>
                    <a:pt x="38100" y="143510"/>
                    <a:pt x="36830" y="142240"/>
                  </a:cubicBezTo>
                  <a:cubicBezTo>
                    <a:pt x="33020" y="139700"/>
                    <a:pt x="33020" y="134620"/>
                    <a:pt x="36830" y="130810"/>
                  </a:cubicBezTo>
                  <a:lnTo>
                    <a:pt x="77470" y="90170"/>
                  </a:lnTo>
                  <a:lnTo>
                    <a:pt x="36830" y="49530"/>
                  </a:ln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16"/>
            <p:cNvSpPr/>
            <p:nvPr/>
          </p:nvSpPr>
          <p:spPr>
            <a:xfrm>
              <a:off x="16383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49530" y="26670"/>
                    <a:pt x="2667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17"/>
            <p:cNvSpPr/>
            <p:nvPr/>
          </p:nvSpPr>
          <p:spPr>
            <a:xfrm>
              <a:off x="41910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18"/>
            <p:cNvSpPr/>
            <p:nvPr/>
          </p:nvSpPr>
          <p:spPr>
            <a:xfrm>
              <a:off x="16510" y="16510"/>
              <a:ext cx="4094480" cy="321310"/>
            </a:xfrm>
            <a:custGeom>
              <a:avLst/>
              <a:gdLst/>
              <a:ahLst/>
              <a:cxnLst/>
              <a:rect l="l" t="t" r="r" b="b"/>
              <a:pathLst>
                <a:path w="4094480" h="321310">
                  <a:moveTo>
                    <a:pt x="0" y="0"/>
                  </a:moveTo>
                  <a:lnTo>
                    <a:pt x="0" y="321310"/>
                  </a:lnTo>
                  <a:lnTo>
                    <a:pt x="4094480" y="321310"/>
                  </a:lnTo>
                  <a:lnTo>
                    <a:pt x="4094480" y="0"/>
                  </a:lnTo>
                  <a:lnTo>
                    <a:pt x="0" y="0"/>
                  </a:lnTo>
                  <a:close/>
                  <a:moveTo>
                    <a:pt x="311150" y="168910"/>
                  </a:moveTo>
                  <a:cubicBezTo>
                    <a:pt x="264160" y="168910"/>
                    <a:pt x="218440" y="214630"/>
                    <a:pt x="218440" y="261620"/>
                  </a:cubicBezTo>
                  <a:cubicBezTo>
                    <a:pt x="217170" y="266700"/>
                    <a:pt x="213360" y="270510"/>
                    <a:pt x="209550" y="270510"/>
                  </a:cubicBezTo>
                  <a:cubicBezTo>
                    <a:pt x="204470" y="270510"/>
                    <a:pt x="200660" y="266700"/>
                    <a:pt x="200660" y="261620"/>
                  </a:cubicBezTo>
                  <a:cubicBezTo>
                    <a:pt x="200660" y="214630"/>
                    <a:pt x="154940" y="168910"/>
                    <a:pt x="107950" y="168910"/>
                  </a:cubicBezTo>
                  <a:cubicBezTo>
                    <a:pt x="102870" y="168910"/>
                    <a:pt x="99060" y="165100"/>
                    <a:pt x="99060" y="160020"/>
                  </a:cubicBezTo>
                  <a:cubicBezTo>
                    <a:pt x="99060" y="154940"/>
                    <a:pt x="102870" y="151130"/>
                    <a:pt x="107950" y="151130"/>
                  </a:cubicBezTo>
                  <a:cubicBezTo>
                    <a:pt x="154940" y="151130"/>
                    <a:pt x="200660" y="105410"/>
                    <a:pt x="200660" y="58420"/>
                  </a:cubicBezTo>
                  <a:cubicBezTo>
                    <a:pt x="200660" y="53340"/>
                    <a:pt x="204470" y="49530"/>
                    <a:pt x="209550" y="49530"/>
                  </a:cubicBezTo>
                  <a:cubicBezTo>
                    <a:pt x="214630" y="49530"/>
                    <a:pt x="218440" y="53340"/>
                    <a:pt x="218440" y="58420"/>
                  </a:cubicBezTo>
                  <a:cubicBezTo>
                    <a:pt x="218440" y="105410"/>
                    <a:pt x="264160" y="151130"/>
                    <a:pt x="311150" y="151130"/>
                  </a:cubicBezTo>
                  <a:cubicBezTo>
                    <a:pt x="316230" y="151130"/>
                    <a:pt x="320040" y="154940"/>
                    <a:pt x="320040" y="160020"/>
                  </a:cubicBezTo>
                  <a:cubicBezTo>
                    <a:pt x="320040" y="165100"/>
                    <a:pt x="316230" y="168910"/>
                    <a:pt x="311150" y="168910"/>
                  </a:cubicBezTo>
                  <a:close/>
                  <a:moveTo>
                    <a:pt x="566420" y="168910"/>
                  </a:moveTo>
                  <a:cubicBezTo>
                    <a:pt x="519430" y="168910"/>
                    <a:pt x="473710" y="214630"/>
                    <a:pt x="473710" y="261620"/>
                  </a:cubicBezTo>
                  <a:cubicBezTo>
                    <a:pt x="473710" y="266700"/>
                    <a:pt x="469900" y="270510"/>
                    <a:pt x="464820" y="270510"/>
                  </a:cubicBezTo>
                  <a:cubicBezTo>
                    <a:pt x="459740" y="270510"/>
                    <a:pt x="455930" y="266700"/>
                    <a:pt x="455930" y="261620"/>
                  </a:cubicBezTo>
                  <a:cubicBezTo>
                    <a:pt x="455930" y="214630"/>
                    <a:pt x="410210" y="168910"/>
                    <a:pt x="363220" y="168910"/>
                  </a:cubicBezTo>
                  <a:cubicBezTo>
                    <a:pt x="358140" y="168910"/>
                    <a:pt x="354330" y="165100"/>
                    <a:pt x="354330" y="160020"/>
                  </a:cubicBezTo>
                  <a:cubicBezTo>
                    <a:pt x="354330" y="154940"/>
                    <a:pt x="358140" y="151130"/>
                    <a:pt x="363220" y="151130"/>
                  </a:cubicBezTo>
                  <a:cubicBezTo>
                    <a:pt x="410210" y="151130"/>
                    <a:pt x="455930" y="105410"/>
                    <a:pt x="455930" y="58420"/>
                  </a:cubicBezTo>
                  <a:cubicBezTo>
                    <a:pt x="455930" y="53340"/>
                    <a:pt x="459740" y="49530"/>
                    <a:pt x="464820" y="49530"/>
                  </a:cubicBezTo>
                  <a:cubicBezTo>
                    <a:pt x="469900" y="49530"/>
                    <a:pt x="473710" y="53340"/>
                    <a:pt x="473710" y="58420"/>
                  </a:cubicBezTo>
                  <a:cubicBezTo>
                    <a:pt x="473710" y="105410"/>
                    <a:pt x="519430" y="151130"/>
                    <a:pt x="566420" y="151130"/>
                  </a:cubicBezTo>
                  <a:cubicBezTo>
                    <a:pt x="571500" y="151130"/>
                    <a:pt x="575310" y="154940"/>
                    <a:pt x="575310" y="160020"/>
                  </a:cubicBezTo>
                  <a:cubicBezTo>
                    <a:pt x="575310" y="165100"/>
                    <a:pt x="571500" y="168910"/>
                    <a:pt x="566420" y="168910"/>
                  </a:cubicBezTo>
                  <a:close/>
                  <a:moveTo>
                    <a:pt x="821690" y="168910"/>
                  </a:moveTo>
                  <a:cubicBezTo>
                    <a:pt x="774700" y="168910"/>
                    <a:pt x="728980" y="214630"/>
                    <a:pt x="728980" y="261620"/>
                  </a:cubicBezTo>
                  <a:cubicBezTo>
                    <a:pt x="728980" y="266700"/>
                    <a:pt x="725170" y="270510"/>
                    <a:pt x="720090" y="270510"/>
                  </a:cubicBezTo>
                  <a:cubicBezTo>
                    <a:pt x="715010" y="270510"/>
                    <a:pt x="711200" y="266700"/>
                    <a:pt x="711200" y="261620"/>
                  </a:cubicBezTo>
                  <a:cubicBezTo>
                    <a:pt x="711200" y="214630"/>
                    <a:pt x="665480" y="168910"/>
                    <a:pt x="618490" y="168910"/>
                  </a:cubicBezTo>
                  <a:cubicBezTo>
                    <a:pt x="613410" y="168910"/>
                    <a:pt x="609600" y="165100"/>
                    <a:pt x="609600" y="160020"/>
                  </a:cubicBezTo>
                  <a:cubicBezTo>
                    <a:pt x="609600" y="154940"/>
                    <a:pt x="613410" y="151130"/>
                    <a:pt x="618490" y="151130"/>
                  </a:cubicBezTo>
                  <a:cubicBezTo>
                    <a:pt x="665480" y="151130"/>
                    <a:pt x="711200" y="105410"/>
                    <a:pt x="711200" y="58420"/>
                  </a:cubicBezTo>
                  <a:cubicBezTo>
                    <a:pt x="711200" y="53340"/>
                    <a:pt x="715010" y="49530"/>
                    <a:pt x="720090" y="49530"/>
                  </a:cubicBezTo>
                  <a:cubicBezTo>
                    <a:pt x="725170" y="49530"/>
                    <a:pt x="728980" y="53340"/>
                    <a:pt x="728980" y="58420"/>
                  </a:cubicBezTo>
                  <a:cubicBezTo>
                    <a:pt x="728980" y="105410"/>
                    <a:pt x="774700" y="151130"/>
                    <a:pt x="821690" y="151130"/>
                  </a:cubicBezTo>
                  <a:cubicBezTo>
                    <a:pt x="826770" y="151130"/>
                    <a:pt x="830580" y="154940"/>
                    <a:pt x="830580" y="160020"/>
                  </a:cubicBezTo>
                  <a:cubicBezTo>
                    <a:pt x="830580" y="165100"/>
                    <a:pt x="826770" y="168910"/>
                    <a:pt x="821690" y="168910"/>
                  </a:cubicBezTo>
                  <a:close/>
                  <a:moveTo>
                    <a:pt x="3986530" y="259080"/>
                  </a:moveTo>
                  <a:cubicBezTo>
                    <a:pt x="3985260" y="264160"/>
                    <a:pt x="3981450" y="267970"/>
                    <a:pt x="3976370" y="267970"/>
                  </a:cubicBezTo>
                  <a:lnTo>
                    <a:pt x="3780790" y="267970"/>
                  </a:lnTo>
                  <a:cubicBezTo>
                    <a:pt x="3775710" y="267970"/>
                    <a:pt x="3771900" y="264160"/>
                    <a:pt x="3771900" y="259080"/>
                  </a:cubicBezTo>
                  <a:lnTo>
                    <a:pt x="3771900" y="62230"/>
                  </a:lnTo>
                  <a:cubicBezTo>
                    <a:pt x="3771900" y="57150"/>
                    <a:pt x="3775710" y="53340"/>
                    <a:pt x="3780790" y="53340"/>
                  </a:cubicBezTo>
                  <a:lnTo>
                    <a:pt x="3977640" y="53340"/>
                  </a:lnTo>
                  <a:cubicBezTo>
                    <a:pt x="3982720" y="53340"/>
                    <a:pt x="3986530" y="57150"/>
                    <a:pt x="3986530" y="62230"/>
                  </a:cubicBezTo>
                  <a:lnTo>
                    <a:pt x="3986530" y="259080"/>
                  </a:lnTo>
                  <a:close/>
                </a:path>
              </a:pathLst>
            </a:custGeom>
            <a:solidFill>
              <a:srgbClr val="56AEFF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19"/>
            <p:cNvSpPr/>
            <p:nvPr/>
          </p:nvSpPr>
          <p:spPr>
            <a:xfrm>
              <a:off x="16510" y="354330"/>
              <a:ext cx="4094480" cy="5981700"/>
            </a:xfrm>
            <a:custGeom>
              <a:avLst/>
              <a:gdLst/>
              <a:ahLst/>
              <a:cxnLst/>
              <a:rect l="l" t="t" r="r" b="b"/>
              <a:pathLst>
                <a:path w="4094480" h="5981700">
                  <a:moveTo>
                    <a:pt x="0" y="0"/>
                  </a:moveTo>
                  <a:lnTo>
                    <a:pt x="4094480" y="0"/>
                  </a:lnTo>
                  <a:lnTo>
                    <a:pt x="4094480" y="5981700"/>
                  </a:lnTo>
                  <a:lnTo>
                    <a:pt x="0" y="598170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0" name="Group 20"/>
          <p:cNvGrpSpPr>
            <a:grpSpLocks noChangeAspect="1"/>
          </p:cNvGrpSpPr>
          <p:nvPr/>
        </p:nvGrpSpPr>
        <p:grpSpPr>
          <a:xfrm>
            <a:off x="7516090" y="2094079"/>
            <a:ext cx="2529988" cy="3892648"/>
            <a:chOff x="0" y="0"/>
            <a:chExt cx="4128770" cy="6352540"/>
          </a:xfrm>
        </p:grpSpPr>
        <p:sp>
          <p:nvSpPr>
            <p:cNvPr id="21" name="Freeform 21"/>
            <p:cNvSpPr/>
            <p:nvPr/>
          </p:nvSpPr>
          <p:spPr>
            <a:xfrm>
              <a:off x="0" y="0"/>
              <a:ext cx="4130040" cy="6352540"/>
            </a:xfrm>
            <a:custGeom>
              <a:avLst/>
              <a:gdLst/>
              <a:ahLst/>
              <a:cxnLst/>
              <a:rect l="l" t="t" r="r" b="b"/>
              <a:pathLst>
                <a:path w="4130040" h="6352540">
                  <a:moveTo>
                    <a:pt x="4130040" y="8890"/>
                  </a:moveTo>
                  <a:lnTo>
                    <a:pt x="4130040" y="6344920"/>
                  </a:lnTo>
                  <a:cubicBezTo>
                    <a:pt x="4128770" y="6348730"/>
                    <a:pt x="4124960" y="6352540"/>
                    <a:pt x="4119880" y="6352540"/>
                  </a:cubicBezTo>
                  <a:lnTo>
                    <a:pt x="8890" y="6352540"/>
                  </a:lnTo>
                  <a:cubicBezTo>
                    <a:pt x="3810" y="6352540"/>
                    <a:pt x="0" y="6348730"/>
                    <a:pt x="0" y="6343650"/>
                  </a:cubicBezTo>
                  <a:lnTo>
                    <a:pt x="0" y="8890"/>
                  </a:lnTo>
                  <a:cubicBezTo>
                    <a:pt x="0" y="3810"/>
                    <a:pt x="3810" y="0"/>
                    <a:pt x="8890" y="0"/>
                  </a:cubicBezTo>
                  <a:lnTo>
                    <a:pt x="4121150" y="0"/>
                  </a:lnTo>
                  <a:cubicBezTo>
                    <a:pt x="4126230" y="0"/>
                    <a:pt x="4130040" y="3810"/>
                    <a:pt x="4130040" y="8890"/>
                  </a:cubicBez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22"/>
            <p:cNvSpPr/>
            <p:nvPr/>
          </p:nvSpPr>
          <p:spPr>
            <a:xfrm>
              <a:off x="67437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23"/>
            <p:cNvSpPr/>
            <p:nvPr/>
          </p:nvSpPr>
          <p:spPr>
            <a:xfrm>
              <a:off x="3806190" y="87630"/>
              <a:ext cx="179070" cy="179070"/>
            </a:xfrm>
            <a:custGeom>
              <a:avLst/>
              <a:gdLst/>
              <a:ahLst/>
              <a:cxnLst/>
              <a:rect l="l" t="t" r="r" b="b"/>
              <a:pathLst>
                <a:path w="179070" h="179070">
                  <a:moveTo>
                    <a:pt x="179070" y="179070"/>
                  </a:moveTo>
                  <a:lnTo>
                    <a:pt x="179070" y="0"/>
                  </a:lnTo>
                  <a:lnTo>
                    <a:pt x="0" y="0"/>
                  </a:lnTo>
                  <a:lnTo>
                    <a:pt x="0" y="179070"/>
                  </a:lnTo>
                  <a:lnTo>
                    <a:pt x="179070" y="179070"/>
                  </a:lnTo>
                  <a:close/>
                  <a:moveTo>
                    <a:pt x="36830" y="49530"/>
                  </a:moveTo>
                  <a:cubicBezTo>
                    <a:pt x="33020" y="46990"/>
                    <a:pt x="33020" y="41910"/>
                    <a:pt x="36830" y="38100"/>
                  </a:cubicBezTo>
                  <a:cubicBezTo>
                    <a:pt x="39370" y="34290"/>
                    <a:pt x="44450" y="34290"/>
                    <a:pt x="48260" y="38100"/>
                  </a:cubicBezTo>
                  <a:lnTo>
                    <a:pt x="88900" y="78740"/>
                  </a:lnTo>
                  <a:lnTo>
                    <a:pt x="129540" y="38100"/>
                  </a:lnTo>
                  <a:cubicBezTo>
                    <a:pt x="132080" y="34290"/>
                    <a:pt x="137160" y="34290"/>
                    <a:pt x="140970" y="38100"/>
                  </a:cubicBezTo>
                  <a:cubicBezTo>
                    <a:pt x="144780" y="40640"/>
                    <a:pt x="144780" y="45720"/>
                    <a:pt x="140970" y="49530"/>
                  </a:cubicBezTo>
                  <a:lnTo>
                    <a:pt x="100330" y="90170"/>
                  </a:lnTo>
                  <a:lnTo>
                    <a:pt x="140970" y="130810"/>
                  </a:lnTo>
                  <a:cubicBezTo>
                    <a:pt x="144780" y="133350"/>
                    <a:pt x="144780" y="138430"/>
                    <a:pt x="140970" y="142240"/>
                  </a:cubicBezTo>
                  <a:cubicBezTo>
                    <a:pt x="139700" y="143510"/>
                    <a:pt x="137160" y="143510"/>
                    <a:pt x="135890" y="144780"/>
                  </a:cubicBezTo>
                  <a:cubicBezTo>
                    <a:pt x="133350" y="144780"/>
                    <a:pt x="130810" y="143510"/>
                    <a:pt x="129540" y="142240"/>
                  </a:cubicBezTo>
                  <a:lnTo>
                    <a:pt x="88900" y="101600"/>
                  </a:lnTo>
                  <a:lnTo>
                    <a:pt x="48260" y="142240"/>
                  </a:lnTo>
                  <a:cubicBezTo>
                    <a:pt x="45720" y="143510"/>
                    <a:pt x="44450" y="143510"/>
                    <a:pt x="43180" y="144780"/>
                  </a:cubicBezTo>
                  <a:cubicBezTo>
                    <a:pt x="40640" y="144780"/>
                    <a:pt x="38100" y="143510"/>
                    <a:pt x="36830" y="142240"/>
                  </a:cubicBezTo>
                  <a:cubicBezTo>
                    <a:pt x="33020" y="139700"/>
                    <a:pt x="33020" y="134620"/>
                    <a:pt x="36830" y="130810"/>
                  </a:cubicBezTo>
                  <a:lnTo>
                    <a:pt x="77470" y="90170"/>
                  </a:lnTo>
                  <a:lnTo>
                    <a:pt x="36830" y="49530"/>
                  </a:ln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24"/>
            <p:cNvSpPr/>
            <p:nvPr/>
          </p:nvSpPr>
          <p:spPr>
            <a:xfrm>
              <a:off x="16383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49530" y="26670"/>
                    <a:pt x="2667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25"/>
            <p:cNvSpPr/>
            <p:nvPr/>
          </p:nvSpPr>
          <p:spPr>
            <a:xfrm>
              <a:off x="419100" y="115570"/>
              <a:ext cx="124460" cy="124460"/>
            </a:xfrm>
            <a:custGeom>
              <a:avLst/>
              <a:gdLst/>
              <a:ahLst/>
              <a:cxnLst/>
              <a:rect l="l" t="t" r="r" b="b"/>
              <a:pathLst>
                <a:path w="124460" h="124460">
                  <a:moveTo>
                    <a:pt x="62230" y="0"/>
                  </a:moveTo>
                  <a:cubicBezTo>
                    <a:pt x="50800" y="26670"/>
                    <a:pt x="27940" y="49530"/>
                    <a:pt x="0" y="62230"/>
                  </a:cubicBezTo>
                  <a:cubicBezTo>
                    <a:pt x="26670" y="73660"/>
                    <a:pt x="49530" y="96520"/>
                    <a:pt x="62230" y="124460"/>
                  </a:cubicBezTo>
                  <a:cubicBezTo>
                    <a:pt x="73660" y="97790"/>
                    <a:pt x="96520" y="74930"/>
                    <a:pt x="124460" y="62230"/>
                  </a:cubicBezTo>
                  <a:cubicBezTo>
                    <a:pt x="97790" y="50800"/>
                    <a:pt x="74930" y="27940"/>
                    <a:pt x="6223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26"/>
            <p:cNvSpPr/>
            <p:nvPr/>
          </p:nvSpPr>
          <p:spPr>
            <a:xfrm>
              <a:off x="16510" y="16510"/>
              <a:ext cx="4094480" cy="321310"/>
            </a:xfrm>
            <a:custGeom>
              <a:avLst/>
              <a:gdLst/>
              <a:ahLst/>
              <a:cxnLst/>
              <a:rect l="l" t="t" r="r" b="b"/>
              <a:pathLst>
                <a:path w="4094480" h="321310">
                  <a:moveTo>
                    <a:pt x="0" y="0"/>
                  </a:moveTo>
                  <a:lnTo>
                    <a:pt x="0" y="321310"/>
                  </a:lnTo>
                  <a:lnTo>
                    <a:pt x="4094480" y="321310"/>
                  </a:lnTo>
                  <a:lnTo>
                    <a:pt x="4094480" y="0"/>
                  </a:lnTo>
                  <a:lnTo>
                    <a:pt x="0" y="0"/>
                  </a:lnTo>
                  <a:close/>
                  <a:moveTo>
                    <a:pt x="311150" y="168910"/>
                  </a:moveTo>
                  <a:cubicBezTo>
                    <a:pt x="264160" y="168910"/>
                    <a:pt x="218440" y="214630"/>
                    <a:pt x="218440" y="261620"/>
                  </a:cubicBezTo>
                  <a:cubicBezTo>
                    <a:pt x="217170" y="266700"/>
                    <a:pt x="213360" y="270510"/>
                    <a:pt x="209550" y="270510"/>
                  </a:cubicBezTo>
                  <a:cubicBezTo>
                    <a:pt x="204470" y="270510"/>
                    <a:pt x="200660" y="266700"/>
                    <a:pt x="200660" y="261620"/>
                  </a:cubicBezTo>
                  <a:cubicBezTo>
                    <a:pt x="200660" y="214630"/>
                    <a:pt x="154940" y="168910"/>
                    <a:pt x="107950" y="168910"/>
                  </a:cubicBezTo>
                  <a:cubicBezTo>
                    <a:pt x="102870" y="168910"/>
                    <a:pt x="99060" y="165100"/>
                    <a:pt x="99060" y="160020"/>
                  </a:cubicBezTo>
                  <a:cubicBezTo>
                    <a:pt x="99060" y="154940"/>
                    <a:pt x="102870" y="151130"/>
                    <a:pt x="107950" y="151130"/>
                  </a:cubicBezTo>
                  <a:cubicBezTo>
                    <a:pt x="154940" y="151130"/>
                    <a:pt x="200660" y="105410"/>
                    <a:pt x="200660" y="58420"/>
                  </a:cubicBezTo>
                  <a:cubicBezTo>
                    <a:pt x="200660" y="53340"/>
                    <a:pt x="204470" y="49530"/>
                    <a:pt x="209550" y="49530"/>
                  </a:cubicBezTo>
                  <a:cubicBezTo>
                    <a:pt x="214630" y="49530"/>
                    <a:pt x="218440" y="53340"/>
                    <a:pt x="218440" y="58420"/>
                  </a:cubicBezTo>
                  <a:cubicBezTo>
                    <a:pt x="218440" y="105410"/>
                    <a:pt x="264160" y="151130"/>
                    <a:pt x="311150" y="151130"/>
                  </a:cubicBezTo>
                  <a:cubicBezTo>
                    <a:pt x="316230" y="151130"/>
                    <a:pt x="320040" y="154940"/>
                    <a:pt x="320040" y="160020"/>
                  </a:cubicBezTo>
                  <a:cubicBezTo>
                    <a:pt x="320040" y="165100"/>
                    <a:pt x="316230" y="168910"/>
                    <a:pt x="311150" y="168910"/>
                  </a:cubicBezTo>
                  <a:close/>
                  <a:moveTo>
                    <a:pt x="566420" y="168910"/>
                  </a:moveTo>
                  <a:cubicBezTo>
                    <a:pt x="519430" y="168910"/>
                    <a:pt x="473710" y="214630"/>
                    <a:pt x="473710" y="261620"/>
                  </a:cubicBezTo>
                  <a:cubicBezTo>
                    <a:pt x="473710" y="266700"/>
                    <a:pt x="469900" y="270510"/>
                    <a:pt x="464820" y="270510"/>
                  </a:cubicBezTo>
                  <a:cubicBezTo>
                    <a:pt x="459740" y="270510"/>
                    <a:pt x="455930" y="266700"/>
                    <a:pt x="455930" y="261620"/>
                  </a:cubicBezTo>
                  <a:cubicBezTo>
                    <a:pt x="455930" y="214630"/>
                    <a:pt x="410210" y="168910"/>
                    <a:pt x="363220" y="168910"/>
                  </a:cubicBezTo>
                  <a:cubicBezTo>
                    <a:pt x="358140" y="168910"/>
                    <a:pt x="354330" y="165100"/>
                    <a:pt x="354330" y="160020"/>
                  </a:cubicBezTo>
                  <a:cubicBezTo>
                    <a:pt x="354330" y="154940"/>
                    <a:pt x="358140" y="151130"/>
                    <a:pt x="363220" y="151130"/>
                  </a:cubicBezTo>
                  <a:cubicBezTo>
                    <a:pt x="410210" y="151130"/>
                    <a:pt x="455930" y="105410"/>
                    <a:pt x="455930" y="58420"/>
                  </a:cubicBezTo>
                  <a:cubicBezTo>
                    <a:pt x="455930" y="53340"/>
                    <a:pt x="459740" y="49530"/>
                    <a:pt x="464820" y="49530"/>
                  </a:cubicBezTo>
                  <a:cubicBezTo>
                    <a:pt x="469900" y="49530"/>
                    <a:pt x="473710" y="53340"/>
                    <a:pt x="473710" y="58420"/>
                  </a:cubicBezTo>
                  <a:cubicBezTo>
                    <a:pt x="473710" y="105410"/>
                    <a:pt x="519430" y="151130"/>
                    <a:pt x="566420" y="151130"/>
                  </a:cubicBezTo>
                  <a:cubicBezTo>
                    <a:pt x="571500" y="151130"/>
                    <a:pt x="575310" y="154940"/>
                    <a:pt x="575310" y="160020"/>
                  </a:cubicBezTo>
                  <a:cubicBezTo>
                    <a:pt x="575310" y="165100"/>
                    <a:pt x="571500" y="168910"/>
                    <a:pt x="566420" y="168910"/>
                  </a:cubicBezTo>
                  <a:close/>
                  <a:moveTo>
                    <a:pt x="821690" y="168910"/>
                  </a:moveTo>
                  <a:cubicBezTo>
                    <a:pt x="774700" y="168910"/>
                    <a:pt x="728980" y="214630"/>
                    <a:pt x="728980" y="261620"/>
                  </a:cubicBezTo>
                  <a:cubicBezTo>
                    <a:pt x="728980" y="266700"/>
                    <a:pt x="725170" y="270510"/>
                    <a:pt x="720090" y="270510"/>
                  </a:cubicBezTo>
                  <a:cubicBezTo>
                    <a:pt x="715010" y="270510"/>
                    <a:pt x="711200" y="266700"/>
                    <a:pt x="711200" y="261620"/>
                  </a:cubicBezTo>
                  <a:cubicBezTo>
                    <a:pt x="711200" y="214630"/>
                    <a:pt x="665480" y="168910"/>
                    <a:pt x="618490" y="168910"/>
                  </a:cubicBezTo>
                  <a:cubicBezTo>
                    <a:pt x="613410" y="168910"/>
                    <a:pt x="609600" y="165100"/>
                    <a:pt x="609600" y="160020"/>
                  </a:cubicBezTo>
                  <a:cubicBezTo>
                    <a:pt x="609600" y="154940"/>
                    <a:pt x="613410" y="151130"/>
                    <a:pt x="618490" y="151130"/>
                  </a:cubicBezTo>
                  <a:cubicBezTo>
                    <a:pt x="665480" y="151130"/>
                    <a:pt x="711200" y="105410"/>
                    <a:pt x="711200" y="58420"/>
                  </a:cubicBezTo>
                  <a:cubicBezTo>
                    <a:pt x="711200" y="53340"/>
                    <a:pt x="715010" y="49530"/>
                    <a:pt x="720090" y="49530"/>
                  </a:cubicBezTo>
                  <a:cubicBezTo>
                    <a:pt x="725170" y="49530"/>
                    <a:pt x="728980" y="53340"/>
                    <a:pt x="728980" y="58420"/>
                  </a:cubicBezTo>
                  <a:cubicBezTo>
                    <a:pt x="728980" y="105410"/>
                    <a:pt x="774700" y="151130"/>
                    <a:pt x="821690" y="151130"/>
                  </a:cubicBezTo>
                  <a:cubicBezTo>
                    <a:pt x="826770" y="151130"/>
                    <a:pt x="830580" y="154940"/>
                    <a:pt x="830580" y="160020"/>
                  </a:cubicBezTo>
                  <a:cubicBezTo>
                    <a:pt x="830580" y="165100"/>
                    <a:pt x="826770" y="168910"/>
                    <a:pt x="821690" y="168910"/>
                  </a:cubicBezTo>
                  <a:close/>
                  <a:moveTo>
                    <a:pt x="3986530" y="259080"/>
                  </a:moveTo>
                  <a:cubicBezTo>
                    <a:pt x="3985260" y="264160"/>
                    <a:pt x="3981450" y="267970"/>
                    <a:pt x="3976370" y="267970"/>
                  </a:cubicBezTo>
                  <a:lnTo>
                    <a:pt x="3780790" y="267970"/>
                  </a:lnTo>
                  <a:cubicBezTo>
                    <a:pt x="3775710" y="267970"/>
                    <a:pt x="3771900" y="264160"/>
                    <a:pt x="3771900" y="259080"/>
                  </a:cubicBezTo>
                  <a:lnTo>
                    <a:pt x="3771900" y="62230"/>
                  </a:lnTo>
                  <a:cubicBezTo>
                    <a:pt x="3771900" y="57150"/>
                    <a:pt x="3775710" y="53340"/>
                    <a:pt x="3780790" y="53340"/>
                  </a:cubicBezTo>
                  <a:lnTo>
                    <a:pt x="3977640" y="53340"/>
                  </a:lnTo>
                  <a:cubicBezTo>
                    <a:pt x="3982720" y="53340"/>
                    <a:pt x="3986530" y="57150"/>
                    <a:pt x="3986530" y="62230"/>
                  </a:cubicBezTo>
                  <a:lnTo>
                    <a:pt x="3986530" y="259080"/>
                  </a:lnTo>
                  <a:close/>
                </a:path>
              </a:pathLst>
            </a:custGeom>
            <a:solidFill>
              <a:srgbClr val="F9C04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 27"/>
            <p:cNvSpPr/>
            <p:nvPr/>
          </p:nvSpPr>
          <p:spPr>
            <a:xfrm>
              <a:off x="16510" y="354330"/>
              <a:ext cx="4094480" cy="5981700"/>
            </a:xfrm>
            <a:custGeom>
              <a:avLst/>
              <a:gdLst/>
              <a:ahLst/>
              <a:cxnLst/>
              <a:rect l="l" t="t" r="r" b="b"/>
              <a:pathLst>
                <a:path w="4094480" h="5981700">
                  <a:moveTo>
                    <a:pt x="0" y="0"/>
                  </a:moveTo>
                  <a:lnTo>
                    <a:pt x="4094480" y="0"/>
                  </a:lnTo>
                  <a:lnTo>
                    <a:pt x="4094480" y="5981700"/>
                  </a:lnTo>
                  <a:lnTo>
                    <a:pt x="0" y="598170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8" name="Group 28"/>
          <p:cNvGrpSpPr>
            <a:grpSpLocks noChangeAspect="1"/>
          </p:cNvGrpSpPr>
          <p:nvPr/>
        </p:nvGrpSpPr>
        <p:grpSpPr>
          <a:xfrm>
            <a:off x="4079933" y="424713"/>
            <a:ext cx="4040136" cy="1455300"/>
            <a:chOff x="0" y="0"/>
            <a:chExt cx="18938240" cy="6350000"/>
          </a:xfrm>
        </p:grpSpPr>
        <p:sp>
          <p:nvSpPr>
            <p:cNvPr id="29" name="Freeform 29"/>
            <p:cNvSpPr/>
            <p:nvPr/>
          </p:nvSpPr>
          <p:spPr>
            <a:xfrm>
              <a:off x="27940" y="27940"/>
              <a:ext cx="18883630" cy="916940"/>
            </a:xfrm>
            <a:custGeom>
              <a:avLst/>
              <a:gdLst/>
              <a:ahLst/>
              <a:cxnLst/>
              <a:rect l="l" t="t" r="r" b="b"/>
              <a:pathLst>
                <a:path w="18883630" h="916940">
                  <a:moveTo>
                    <a:pt x="18883630" y="670560"/>
                  </a:moveTo>
                  <a:lnTo>
                    <a:pt x="18883630" y="916940"/>
                  </a:lnTo>
                  <a:lnTo>
                    <a:pt x="0" y="916940"/>
                  </a:lnTo>
                  <a:lnTo>
                    <a:pt x="0" y="0"/>
                  </a:lnTo>
                  <a:lnTo>
                    <a:pt x="18883630" y="0"/>
                  </a:lnTo>
                  <a:lnTo>
                    <a:pt x="18883630" y="271780"/>
                  </a:lnTo>
                  <a:moveTo>
                    <a:pt x="18883630" y="271780"/>
                  </a:moveTo>
                  <a:lnTo>
                    <a:pt x="18883630" y="670560"/>
                  </a:lnTo>
                </a:path>
              </a:pathLst>
            </a:custGeom>
            <a:solidFill>
              <a:srgbClr val="FA7D9D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30"/>
            <p:cNvSpPr/>
            <p:nvPr/>
          </p:nvSpPr>
          <p:spPr>
            <a:xfrm>
              <a:off x="27940" y="944880"/>
              <a:ext cx="18883630" cy="5377180"/>
            </a:xfrm>
            <a:custGeom>
              <a:avLst/>
              <a:gdLst/>
              <a:ahLst/>
              <a:cxnLst/>
              <a:rect l="l" t="t" r="r" b="b"/>
              <a:pathLst>
                <a:path w="18883630" h="5377180">
                  <a:moveTo>
                    <a:pt x="18883630" y="1172210"/>
                  </a:moveTo>
                  <a:lnTo>
                    <a:pt x="18883630" y="5377180"/>
                  </a:lnTo>
                  <a:lnTo>
                    <a:pt x="10957560" y="5377180"/>
                  </a:lnTo>
                  <a:moveTo>
                    <a:pt x="10957560" y="5377180"/>
                  </a:moveTo>
                  <a:lnTo>
                    <a:pt x="0" y="5377180"/>
                  </a:lnTo>
                  <a:lnTo>
                    <a:pt x="0" y="0"/>
                  </a:lnTo>
                  <a:lnTo>
                    <a:pt x="18883630" y="0"/>
                  </a:lnTo>
                  <a:lnTo>
                    <a:pt x="18883630" y="1172210"/>
                  </a:lnTo>
                </a:path>
              </a:pathLst>
            </a:custGeom>
            <a:solidFill>
              <a:srgbClr val="FAF2E9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31"/>
            <p:cNvSpPr/>
            <p:nvPr/>
          </p:nvSpPr>
          <p:spPr>
            <a:xfrm>
              <a:off x="317500" y="299720"/>
              <a:ext cx="1515110" cy="369570"/>
            </a:xfrm>
            <a:custGeom>
              <a:avLst/>
              <a:gdLst/>
              <a:ahLst/>
              <a:cxnLst/>
              <a:rect l="l" t="t" r="r" b="b"/>
              <a:pathLst>
                <a:path w="1515110" h="369570">
                  <a:moveTo>
                    <a:pt x="368300" y="185420"/>
                  </a:moveTo>
                  <a:cubicBezTo>
                    <a:pt x="368300" y="287020"/>
                    <a:pt x="285750" y="369570"/>
                    <a:pt x="184150" y="369570"/>
                  </a:cubicBezTo>
                  <a:cubicBezTo>
                    <a:pt x="82550" y="369570"/>
                    <a:pt x="0" y="287020"/>
                    <a:pt x="0" y="185420"/>
                  </a:cubicBezTo>
                  <a:cubicBezTo>
                    <a:pt x="0" y="83820"/>
                    <a:pt x="82550" y="1270"/>
                    <a:pt x="184150" y="1270"/>
                  </a:cubicBezTo>
                  <a:cubicBezTo>
                    <a:pt x="285750" y="1270"/>
                    <a:pt x="368300" y="82550"/>
                    <a:pt x="368300" y="185420"/>
                  </a:cubicBezTo>
                  <a:close/>
                  <a:moveTo>
                    <a:pt x="756920" y="0"/>
                  </a:moveTo>
                  <a:cubicBezTo>
                    <a:pt x="655320" y="0"/>
                    <a:pt x="572770" y="82550"/>
                    <a:pt x="572770" y="184150"/>
                  </a:cubicBezTo>
                  <a:cubicBezTo>
                    <a:pt x="572770" y="285750"/>
                    <a:pt x="655320" y="368300"/>
                    <a:pt x="756920" y="368300"/>
                  </a:cubicBezTo>
                  <a:cubicBezTo>
                    <a:pt x="858520" y="368300"/>
                    <a:pt x="941070" y="285750"/>
                    <a:pt x="941070" y="184150"/>
                  </a:cubicBezTo>
                  <a:cubicBezTo>
                    <a:pt x="941070" y="82550"/>
                    <a:pt x="858520" y="0"/>
                    <a:pt x="756920" y="0"/>
                  </a:cubicBezTo>
                  <a:close/>
                  <a:moveTo>
                    <a:pt x="1330960" y="0"/>
                  </a:moveTo>
                  <a:cubicBezTo>
                    <a:pt x="1229360" y="0"/>
                    <a:pt x="1146810" y="82550"/>
                    <a:pt x="1146810" y="184150"/>
                  </a:cubicBezTo>
                  <a:cubicBezTo>
                    <a:pt x="1146810" y="285750"/>
                    <a:pt x="1229360" y="368300"/>
                    <a:pt x="1330960" y="368300"/>
                  </a:cubicBezTo>
                  <a:cubicBezTo>
                    <a:pt x="1432560" y="368300"/>
                    <a:pt x="1515110" y="285750"/>
                    <a:pt x="1515110" y="184150"/>
                  </a:cubicBezTo>
                  <a:cubicBezTo>
                    <a:pt x="1515110" y="82550"/>
                    <a:pt x="1432560" y="0"/>
                    <a:pt x="1330960" y="0"/>
                  </a:cubicBez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32"/>
            <p:cNvSpPr/>
            <p:nvPr/>
          </p:nvSpPr>
          <p:spPr>
            <a:xfrm>
              <a:off x="0" y="0"/>
              <a:ext cx="18939509" cy="6350000"/>
            </a:xfrm>
            <a:custGeom>
              <a:avLst/>
              <a:gdLst/>
              <a:ahLst/>
              <a:cxnLst/>
              <a:rect l="l" t="t" r="r" b="b"/>
              <a:pathLst>
                <a:path w="18939509" h="6350000">
                  <a:moveTo>
                    <a:pt x="18911570" y="6350000"/>
                  </a:moveTo>
                  <a:lnTo>
                    <a:pt x="27940" y="6350000"/>
                  </a:lnTo>
                  <a:cubicBezTo>
                    <a:pt x="12700" y="6350000"/>
                    <a:pt x="0" y="6337300"/>
                    <a:pt x="0" y="6322060"/>
                  </a:cubicBezTo>
                  <a:lnTo>
                    <a:pt x="0" y="27940"/>
                  </a:lnTo>
                  <a:cubicBezTo>
                    <a:pt x="0" y="12700"/>
                    <a:pt x="12700" y="0"/>
                    <a:pt x="27940" y="0"/>
                  </a:cubicBezTo>
                  <a:lnTo>
                    <a:pt x="18911570" y="0"/>
                  </a:lnTo>
                  <a:cubicBezTo>
                    <a:pt x="18926809" y="0"/>
                    <a:pt x="18939509" y="12700"/>
                    <a:pt x="18939509" y="27940"/>
                  </a:cubicBezTo>
                  <a:lnTo>
                    <a:pt x="18939509" y="6322060"/>
                  </a:lnTo>
                  <a:cubicBezTo>
                    <a:pt x="18938239" y="6337300"/>
                    <a:pt x="18926811" y="6350000"/>
                    <a:pt x="18911570" y="6350000"/>
                  </a:cubicBezTo>
                  <a:close/>
                  <a:moveTo>
                    <a:pt x="55880" y="6294120"/>
                  </a:moveTo>
                  <a:lnTo>
                    <a:pt x="18883630" y="6294120"/>
                  </a:lnTo>
                  <a:lnTo>
                    <a:pt x="18883630" y="55880"/>
                  </a:lnTo>
                  <a:lnTo>
                    <a:pt x="55880" y="55880"/>
                  </a:lnTo>
                  <a:lnTo>
                    <a:pt x="55880" y="6294120"/>
                  </a:lnTo>
                  <a:close/>
                  <a:moveTo>
                    <a:pt x="18911570" y="972820"/>
                  </a:moveTo>
                  <a:lnTo>
                    <a:pt x="27940" y="972820"/>
                  </a:lnTo>
                  <a:cubicBezTo>
                    <a:pt x="12700" y="972820"/>
                    <a:pt x="0" y="960120"/>
                    <a:pt x="0" y="944880"/>
                  </a:cubicBezTo>
                  <a:lnTo>
                    <a:pt x="0" y="27940"/>
                  </a:lnTo>
                  <a:cubicBezTo>
                    <a:pt x="0" y="12700"/>
                    <a:pt x="12700" y="0"/>
                    <a:pt x="27940" y="0"/>
                  </a:cubicBezTo>
                  <a:lnTo>
                    <a:pt x="18911570" y="0"/>
                  </a:lnTo>
                  <a:cubicBezTo>
                    <a:pt x="18926809" y="0"/>
                    <a:pt x="18939509" y="12700"/>
                    <a:pt x="18939509" y="27940"/>
                  </a:cubicBezTo>
                  <a:lnTo>
                    <a:pt x="18939509" y="944880"/>
                  </a:lnTo>
                  <a:cubicBezTo>
                    <a:pt x="18938239" y="960120"/>
                    <a:pt x="18926811" y="972820"/>
                    <a:pt x="18911570" y="972820"/>
                  </a:cubicBezTo>
                  <a:close/>
                  <a:moveTo>
                    <a:pt x="55880" y="916940"/>
                  </a:moveTo>
                  <a:lnTo>
                    <a:pt x="18883630" y="916940"/>
                  </a:lnTo>
                  <a:lnTo>
                    <a:pt x="18883630" y="55880"/>
                  </a:lnTo>
                  <a:lnTo>
                    <a:pt x="55880" y="55880"/>
                  </a:lnTo>
                  <a:lnTo>
                    <a:pt x="55880" y="916940"/>
                  </a:lnTo>
                  <a:close/>
                  <a:moveTo>
                    <a:pt x="501650" y="695960"/>
                  </a:moveTo>
                  <a:cubicBezTo>
                    <a:pt x="384810" y="695960"/>
                    <a:pt x="289560" y="600710"/>
                    <a:pt x="289560" y="483870"/>
                  </a:cubicBezTo>
                  <a:cubicBezTo>
                    <a:pt x="289560" y="367030"/>
                    <a:pt x="384810" y="271780"/>
                    <a:pt x="501650" y="271780"/>
                  </a:cubicBezTo>
                  <a:cubicBezTo>
                    <a:pt x="618490" y="271780"/>
                    <a:pt x="713740" y="367030"/>
                    <a:pt x="713740" y="483870"/>
                  </a:cubicBezTo>
                  <a:cubicBezTo>
                    <a:pt x="713740" y="600710"/>
                    <a:pt x="618490" y="695960"/>
                    <a:pt x="501650" y="695960"/>
                  </a:cubicBezTo>
                  <a:close/>
                  <a:moveTo>
                    <a:pt x="501650" y="327660"/>
                  </a:moveTo>
                  <a:cubicBezTo>
                    <a:pt x="415290" y="327660"/>
                    <a:pt x="345440" y="397510"/>
                    <a:pt x="345440" y="483870"/>
                  </a:cubicBezTo>
                  <a:cubicBezTo>
                    <a:pt x="345440" y="570230"/>
                    <a:pt x="415290" y="640080"/>
                    <a:pt x="501650" y="640080"/>
                  </a:cubicBezTo>
                  <a:cubicBezTo>
                    <a:pt x="588010" y="640080"/>
                    <a:pt x="657860" y="570230"/>
                    <a:pt x="657860" y="483870"/>
                  </a:cubicBezTo>
                  <a:cubicBezTo>
                    <a:pt x="657860" y="397510"/>
                    <a:pt x="588010" y="327660"/>
                    <a:pt x="501650" y="327660"/>
                  </a:cubicBezTo>
                  <a:close/>
                  <a:moveTo>
                    <a:pt x="1074420" y="695960"/>
                  </a:moveTo>
                  <a:cubicBezTo>
                    <a:pt x="957580" y="695960"/>
                    <a:pt x="862330" y="600710"/>
                    <a:pt x="862330" y="483870"/>
                  </a:cubicBezTo>
                  <a:cubicBezTo>
                    <a:pt x="862330" y="367030"/>
                    <a:pt x="957580" y="271780"/>
                    <a:pt x="1074420" y="271780"/>
                  </a:cubicBezTo>
                  <a:cubicBezTo>
                    <a:pt x="1191260" y="271780"/>
                    <a:pt x="1286510" y="367030"/>
                    <a:pt x="1286510" y="483870"/>
                  </a:cubicBezTo>
                  <a:cubicBezTo>
                    <a:pt x="1286510" y="600710"/>
                    <a:pt x="1191260" y="695960"/>
                    <a:pt x="1074420" y="695960"/>
                  </a:cubicBezTo>
                  <a:close/>
                  <a:moveTo>
                    <a:pt x="1074420" y="327660"/>
                  </a:moveTo>
                  <a:cubicBezTo>
                    <a:pt x="988060" y="327660"/>
                    <a:pt x="918210" y="397510"/>
                    <a:pt x="918210" y="483870"/>
                  </a:cubicBezTo>
                  <a:cubicBezTo>
                    <a:pt x="918210" y="570230"/>
                    <a:pt x="988060" y="640080"/>
                    <a:pt x="1074420" y="640080"/>
                  </a:cubicBezTo>
                  <a:cubicBezTo>
                    <a:pt x="1160780" y="640080"/>
                    <a:pt x="1230630" y="570230"/>
                    <a:pt x="1230630" y="483870"/>
                  </a:cubicBezTo>
                  <a:cubicBezTo>
                    <a:pt x="1230630" y="397510"/>
                    <a:pt x="1160780" y="327660"/>
                    <a:pt x="1074420" y="327660"/>
                  </a:cubicBezTo>
                  <a:close/>
                  <a:moveTo>
                    <a:pt x="1648460" y="695960"/>
                  </a:moveTo>
                  <a:cubicBezTo>
                    <a:pt x="1531620" y="695960"/>
                    <a:pt x="1436370" y="600710"/>
                    <a:pt x="1436370" y="483870"/>
                  </a:cubicBezTo>
                  <a:cubicBezTo>
                    <a:pt x="1436370" y="367030"/>
                    <a:pt x="1531620" y="271780"/>
                    <a:pt x="1648460" y="271780"/>
                  </a:cubicBezTo>
                  <a:cubicBezTo>
                    <a:pt x="1765300" y="271780"/>
                    <a:pt x="1860550" y="367030"/>
                    <a:pt x="1860550" y="483870"/>
                  </a:cubicBezTo>
                  <a:cubicBezTo>
                    <a:pt x="1860550" y="600710"/>
                    <a:pt x="1765300" y="695960"/>
                    <a:pt x="1648460" y="695960"/>
                  </a:cubicBezTo>
                  <a:close/>
                  <a:moveTo>
                    <a:pt x="1648460" y="327660"/>
                  </a:moveTo>
                  <a:cubicBezTo>
                    <a:pt x="1562100" y="327660"/>
                    <a:pt x="1492250" y="397510"/>
                    <a:pt x="1492250" y="483870"/>
                  </a:cubicBezTo>
                  <a:cubicBezTo>
                    <a:pt x="1492250" y="570230"/>
                    <a:pt x="1562100" y="640080"/>
                    <a:pt x="1648460" y="640080"/>
                  </a:cubicBezTo>
                  <a:cubicBezTo>
                    <a:pt x="1734820" y="640080"/>
                    <a:pt x="1804670" y="570230"/>
                    <a:pt x="1804670" y="483870"/>
                  </a:cubicBezTo>
                  <a:cubicBezTo>
                    <a:pt x="1804670" y="397510"/>
                    <a:pt x="1733550" y="327660"/>
                    <a:pt x="1648460" y="327660"/>
                  </a:cubicBezTo>
                  <a:close/>
                  <a:moveTo>
                    <a:pt x="18501361" y="670560"/>
                  </a:moveTo>
                  <a:lnTo>
                    <a:pt x="18501361" y="302260"/>
                  </a:lnTo>
                  <a:cubicBezTo>
                    <a:pt x="18501361" y="287020"/>
                    <a:pt x="18488661" y="274320"/>
                    <a:pt x="18473421" y="274320"/>
                  </a:cubicBezTo>
                  <a:cubicBezTo>
                    <a:pt x="18458182" y="274320"/>
                    <a:pt x="18445482" y="287020"/>
                    <a:pt x="18445482" y="302260"/>
                  </a:cubicBezTo>
                  <a:lnTo>
                    <a:pt x="18445482" y="670560"/>
                  </a:lnTo>
                  <a:cubicBezTo>
                    <a:pt x="18445482" y="685800"/>
                    <a:pt x="18458182" y="698500"/>
                    <a:pt x="18473421" y="698500"/>
                  </a:cubicBezTo>
                  <a:cubicBezTo>
                    <a:pt x="18488661" y="698500"/>
                    <a:pt x="18501361" y="685800"/>
                    <a:pt x="18501361" y="670560"/>
                  </a:cubicBezTo>
                  <a:close/>
                  <a:moveTo>
                    <a:pt x="18685511" y="488950"/>
                  </a:moveTo>
                  <a:cubicBezTo>
                    <a:pt x="18685511" y="473710"/>
                    <a:pt x="18672811" y="461010"/>
                    <a:pt x="18657571" y="461010"/>
                  </a:cubicBezTo>
                  <a:lnTo>
                    <a:pt x="18289271" y="458470"/>
                  </a:lnTo>
                  <a:cubicBezTo>
                    <a:pt x="18275302" y="457200"/>
                    <a:pt x="18261332" y="471170"/>
                    <a:pt x="18261332" y="486410"/>
                  </a:cubicBezTo>
                  <a:cubicBezTo>
                    <a:pt x="18261332" y="501650"/>
                    <a:pt x="18274032" y="514350"/>
                    <a:pt x="18289271" y="514350"/>
                  </a:cubicBezTo>
                  <a:lnTo>
                    <a:pt x="18657571" y="516890"/>
                  </a:lnTo>
                  <a:lnTo>
                    <a:pt x="18657571" y="516890"/>
                  </a:lnTo>
                  <a:cubicBezTo>
                    <a:pt x="18672811" y="516890"/>
                    <a:pt x="18685511" y="504190"/>
                    <a:pt x="18685511" y="488950"/>
                  </a:cubicBez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3" name="Group 33"/>
          <p:cNvGrpSpPr/>
          <p:nvPr/>
        </p:nvGrpSpPr>
        <p:grpSpPr>
          <a:xfrm>
            <a:off x="2205136" y="5698528"/>
            <a:ext cx="2531080" cy="652530"/>
            <a:chOff x="0" y="0"/>
            <a:chExt cx="40419286" cy="10420374"/>
          </a:xfrm>
        </p:grpSpPr>
        <p:sp>
          <p:nvSpPr>
            <p:cNvPr id="34" name="Freeform 34"/>
            <p:cNvSpPr/>
            <p:nvPr/>
          </p:nvSpPr>
          <p:spPr>
            <a:xfrm>
              <a:off x="72390" y="72390"/>
              <a:ext cx="40274505" cy="10275594"/>
            </a:xfrm>
            <a:custGeom>
              <a:avLst/>
              <a:gdLst/>
              <a:ahLst/>
              <a:cxnLst/>
              <a:rect l="l" t="t" r="r" b="b"/>
              <a:pathLst>
                <a:path w="40274505" h="10275594">
                  <a:moveTo>
                    <a:pt x="0" y="0"/>
                  </a:moveTo>
                  <a:lnTo>
                    <a:pt x="40274505" y="0"/>
                  </a:lnTo>
                  <a:lnTo>
                    <a:pt x="40274505" y="10275594"/>
                  </a:lnTo>
                  <a:lnTo>
                    <a:pt x="0" y="102755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 35"/>
            <p:cNvSpPr/>
            <p:nvPr/>
          </p:nvSpPr>
          <p:spPr>
            <a:xfrm>
              <a:off x="0" y="0"/>
              <a:ext cx="40419285" cy="10420373"/>
            </a:xfrm>
            <a:custGeom>
              <a:avLst/>
              <a:gdLst/>
              <a:ahLst/>
              <a:cxnLst/>
              <a:rect l="l" t="t" r="r" b="b"/>
              <a:pathLst>
                <a:path w="40419285" h="10420373">
                  <a:moveTo>
                    <a:pt x="40274506" y="10275594"/>
                  </a:moveTo>
                  <a:lnTo>
                    <a:pt x="40419285" y="10275594"/>
                  </a:lnTo>
                  <a:lnTo>
                    <a:pt x="40419285" y="10420373"/>
                  </a:lnTo>
                  <a:lnTo>
                    <a:pt x="40274506" y="10420373"/>
                  </a:lnTo>
                  <a:lnTo>
                    <a:pt x="40274506" y="10275594"/>
                  </a:lnTo>
                  <a:close/>
                  <a:moveTo>
                    <a:pt x="0" y="144780"/>
                  </a:moveTo>
                  <a:lnTo>
                    <a:pt x="144780" y="144780"/>
                  </a:lnTo>
                  <a:lnTo>
                    <a:pt x="144780" y="10275594"/>
                  </a:lnTo>
                  <a:lnTo>
                    <a:pt x="0" y="10275594"/>
                  </a:lnTo>
                  <a:lnTo>
                    <a:pt x="0" y="144780"/>
                  </a:lnTo>
                  <a:close/>
                  <a:moveTo>
                    <a:pt x="0" y="10275594"/>
                  </a:moveTo>
                  <a:lnTo>
                    <a:pt x="144780" y="10275594"/>
                  </a:lnTo>
                  <a:lnTo>
                    <a:pt x="144780" y="10420373"/>
                  </a:lnTo>
                  <a:lnTo>
                    <a:pt x="0" y="10420373"/>
                  </a:lnTo>
                  <a:lnTo>
                    <a:pt x="0" y="10275594"/>
                  </a:lnTo>
                  <a:close/>
                  <a:moveTo>
                    <a:pt x="40274506" y="144780"/>
                  </a:moveTo>
                  <a:lnTo>
                    <a:pt x="40419285" y="144780"/>
                  </a:lnTo>
                  <a:lnTo>
                    <a:pt x="40419285" y="10275594"/>
                  </a:lnTo>
                  <a:lnTo>
                    <a:pt x="40274506" y="10275594"/>
                  </a:lnTo>
                  <a:lnTo>
                    <a:pt x="40274506" y="144780"/>
                  </a:lnTo>
                  <a:close/>
                  <a:moveTo>
                    <a:pt x="144780" y="10275594"/>
                  </a:moveTo>
                  <a:lnTo>
                    <a:pt x="40274506" y="10275594"/>
                  </a:lnTo>
                  <a:lnTo>
                    <a:pt x="40274506" y="10420373"/>
                  </a:lnTo>
                  <a:lnTo>
                    <a:pt x="144780" y="10420373"/>
                  </a:lnTo>
                  <a:lnTo>
                    <a:pt x="144780" y="10275594"/>
                  </a:lnTo>
                  <a:close/>
                  <a:moveTo>
                    <a:pt x="40274506" y="0"/>
                  </a:moveTo>
                  <a:lnTo>
                    <a:pt x="40419285" y="0"/>
                  </a:lnTo>
                  <a:lnTo>
                    <a:pt x="40419285" y="144780"/>
                  </a:lnTo>
                  <a:lnTo>
                    <a:pt x="40274506" y="144780"/>
                  </a:lnTo>
                  <a:lnTo>
                    <a:pt x="40274506" y="0"/>
                  </a:lnTo>
                  <a:close/>
                  <a:moveTo>
                    <a:pt x="0" y="0"/>
                  </a:moveTo>
                  <a:lnTo>
                    <a:pt x="144780" y="0"/>
                  </a:lnTo>
                  <a:lnTo>
                    <a:pt x="144780" y="144780"/>
                  </a:lnTo>
                  <a:lnTo>
                    <a:pt x="0" y="144780"/>
                  </a:lnTo>
                  <a:lnTo>
                    <a:pt x="0" y="0"/>
                  </a:lnTo>
                  <a:close/>
                  <a:moveTo>
                    <a:pt x="144780" y="0"/>
                  </a:moveTo>
                  <a:lnTo>
                    <a:pt x="40274506" y="0"/>
                  </a:lnTo>
                  <a:lnTo>
                    <a:pt x="40274506" y="144780"/>
                  </a:lnTo>
                  <a:lnTo>
                    <a:pt x="144780" y="144780"/>
                  </a:lnTo>
                  <a:lnTo>
                    <a:pt x="144780" y="0"/>
                  </a:ln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6" name="Group 36"/>
          <p:cNvGrpSpPr/>
          <p:nvPr/>
        </p:nvGrpSpPr>
        <p:grpSpPr>
          <a:xfrm>
            <a:off x="4838435" y="5698528"/>
            <a:ext cx="2531080" cy="652530"/>
            <a:chOff x="0" y="0"/>
            <a:chExt cx="40419286" cy="10420374"/>
          </a:xfrm>
        </p:grpSpPr>
        <p:sp>
          <p:nvSpPr>
            <p:cNvPr id="37" name="Freeform 37"/>
            <p:cNvSpPr/>
            <p:nvPr/>
          </p:nvSpPr>
          <p:spPr>
            <a:xfrm>
              <a:off x="72390" y="72390"/>
              <a:ext cx="40274505" cy="10275594"/>
            </a:xfrm>
            <a:custGeom>
              <a:avLst/>
              <a:gdLst/>
              <a:ahLst/>
              <a:cxnLst/>
              <a:rect l="l" t="t" r="r" b="b"/>
              <a:pathLst>
                <a:path w="40274505" h="10275594">
                  <a:moveTo>
                    <a:pt x="0" y="0"/>
                  </a:moveTo>
                  <a:lnTo>
                    <a:pt x="40274505" y="0"/>
                  </a:lnTo>
                  <a:lnTo>
                    <a:pt x="40274505" y="10275594"/>
                  </a:lnTo>
                  <a:lnTo>
                    <a:pt x="0" y="102755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 38"/>
            <p:cNvSpPr/>
            <p:nvPr/>
          </p:nvSpPr>
          <p:spPr>
            <a:xfrm>
              <a:off x="0" y="0"/>
              <a:ext cx="40419285" cy="10420373"/>
            </a:xfrm>
            <a:custGeom>
              <a:avLst/>
              <a:gdLst/>
              <a:ahLst/>
              <a:cxnLst/>
              <a:rect l="l" t="t" r="r" b="b"/>
              <a:pathLst>
                <a:path w="40419285" h="10420373">
                  <a:moveTo>
                    <a:pt x="40274506" y="10275594"/>
                  </a:moveTo>
                  <a:lnTo>
                    <a:pt x="40419285" y="10275594"/>
                  </a:lnTo>
                  <a:lnTo>
                    <a:pt x="40419285" y="10420373"/>
                  </a:lnTo>
                  <a:lnTo>
                    <a:pt x="40274506" y="10420373"/>
                  </a:lnTo>
                  <a:lnTo>
                    <a:pt x="40274506" y="10275594"/>
                  </a:lnTo>
                  <a:close/>
                  <a:moveTo>
                    <a:pt x="0" y="144780"/>
                  </a:moveTo>
                  <a:lnTo>
                    <a:pt x="144780" y="144780"/>
                  </a:lnTo>
                  <a:lnTo>
                    <a:pt x="144780" y="10275594"/>
                  </a:lnTo>
                  <a:lnTo>
                    <a:pt x="0" y="10275594"/>
                  </a:lnTo>
                  <a:lnTo>
                    <a:pt x="0" y="144780"/>
                  </a:lnTo>
                  <a:close/>
                  <a:moveTo>
                    <a:pt x="0" y="10275594"/>
                  </a:moveTo>
                  <a:lnTo>
                    <a:pt x="144780" y="10275594"/>
                  </a:lnTo>
                  <a:lnTo>
                    <a:pt x="144780" y="10420373"/>
                  </a:lnTo>
                  <a:lnTo>
                    <a:pt x="0" y="10420373"/>
                  </a:lnTo>
                  <a:lnTo>
                    <a:pt x="0" y="10275594"/>
                  </a:lnTo>
                  <a:close/>
                  <a:moveTo>
                    <a:pt x="40274506" y="144780"/>
                  </a:moveTo>
                  <a:lnTo>
                    <a:pt x="40419285" y="144780"/>
                  </a:lnTo>
                  <a:lnTo>
                    <a:pt x="40419285" y="10275594"/>
                  </a:lnTo>
                  <a:lnTo>
                    <a:pt x="40274506" y="10275594"/>
                  </a:lnTo>
                  <a:lnTo>
                    <a:pt x="40274506" y="144780"/>
                  </a:lnTo>
                  <a:close/>
                  <a:moveTo>
                    <a:pt x="144780" y="10275594"/>
                  </a:moveTo>
                  <a:lnTo>
                    <a:pt x="40274506" y="10275594"/>
                  </a:lnTo>
                  <a:lnTo>
                    <a:pt x="40274506" y="10420373"/>
                  </a:lnTo>
                  <a:lnTo>
                    <a:pt x="144780" y="10420373"/>
                  </a:lnTo>
                  <a:lnTo>
                    <a:pt x="144780" y="10275594"/>
                  </a:lnTo>
                  <a:close/>
                  <a:moveTo>
                    <a:pt x="40274506" y="0"/>
                  </a:moveTo>
                  <a:lnTo>
                    <a:pt x="40419285" y="0"/>
                  </a:lnTo>
                  <a:lnTo>
                    <a:pt x="40419285" y="144780"/>
                  </a:lnTo>
                  <a:lnTo>
                    <a:pt x="40274506" y="144780"/>
                  </a:lnTo>
                  <a:lnTo>
                    <a:pt x="40274506" y="0"/>
                  </a:lnTo>
                  <a:close/>
                  <a:moveTo>
                    <a:pt x="0" y="0"/>
                  </a:moveTo>
                  <a:lnTo>
                    <a:pt x="144780" y="0"/>
                  </a:lnTo>
                  <a:lnTo>
                    <a:pt x="144780" y="144780"/>
                  </a:lnTo>
                  <a:lnTo>
                    <a:pt x="0" y="144780"/>
                  </a:lnTo>
                  <a:lnTo>
                    <a:pt x="0" y="0"/>
                  </a:lnTo>
                  <a:close/>
                  <a:moveTo>
                    <a:pt x="144780" y="0"/>
                  </a:moveTo>
                  <a:lnTo>
                    <a:pt x="40274506" y="0"/>
                  </a:lnTo>
                  <a:lnTo>
                    <a:pt x="40274506" y="144780"/>
                  </a:lnTo>
                  <a:lnTo>
                    <a:pt x="144780" y="144780"/>
                  </a:lnTo>
                  <a:lnTo>
                    <a:pt x="144780" y="0"/>
                  </a:ln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9" name="Group 39"/>
          <p:cNvGrpSpPr/>
          <p:nvPr/>
        </p:nvGrpSpPr>
        <p:grpSpPr>
          <a:xfrm>
            <a:off x="7516975" y="5697332"/>
            <a:ext cx="2540045" cy="652530"/>
            <a:chOff x="0" y="0"/>
            <a:chExt cx="40419286" cy="10420374"/>
          </a:xfrm>
        </p:grpSpPr>
        <p:sp>
          <p:nvSpPr>
            <p:cNvPr id="40" name="Freeform 40"/>
            <p:cNvSpPr/>
            <p:nvPr/>
          </p:nvSpPr>
          <p:spPr>
            <a:xfrm>
              <a:off x="72390" y="72390"/>
              <a:ext cx="40274505" cy="10275594"/>
            </a:xfrm>
            <a:custGeom>
              <a:avLst/>
              <a:gdLst/>
              <a:ahLst/>
              <a:cxnLst/>
              <a:rect l="l" t="t" r="r" b="b"/>
              <a:pathLst>
                <a:path w="40274505" h="10275594">
                  <a:moveTo>
                    <a:pt x="0" y="0"/>
                  </a:moveTo>
                  <a:lnTo>
                    <a:pt x="40274505" y="0"/>
                  </a:lnTo>
                  <a:lnTo>
                    <a:pt x="40274505" y="10275594"/>
                  </a:lnTo>
                  <a:lnTo>
                    <a:pt x="0" y="102755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AF2E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 41"/>
            <p:cNvSpPr/>
            <p:nvPr/>
          </p:nvSpPr>
          <p:spPr>
            <a:xfrm>
              <a:off x="0" y="0"/>
              <a:ext cx="40419285" cy="10420373"/>
            </a:xfrm>
            <a:custGeom>
              <a:avLst/>
              <a:gdLst/>
              <a:ahLst/>
              <a:cxnLst/>
              <a:rect l="l" t="t" r="r" b="b"/>
              <a:pathLst>
                <a:path w="40419285" h="10420373">
                  <a:moveTo>
                    <a:pt x="40274506" y="10275594"/>
                  </a:moveTo>
                  <a:lnTo>
                    <a:pt x="40419285" y="10275594"/>
                  </a:lnTo>
                  <a:lnTo>
                    <a:pt x="40419285" y="10420373"/>
                  </a:lnTo>
                  <a:lnTo>
                    <a:pt x="40274506" y="10420373"/>
                  </a:lnTo>
                  <a:lnTo>
                    <a:pt x="40274506" y="10275594"/>
                  </a:lnTo>
                  <a:close/>
                  <a:moveTo>
                    <a:pt x="0" y="144780"/>
                  </a:moveTo>
                  <a:lnTo>
                    <a:pt x="144780" y="144780"/>
                  </a:lnTo>
                  <a:lnTo>
                    <a:pt x="144780" y="10275594"/>
                  </a:lnTo>
                  <a:lnTo>
                    <a:pt x="0" y="10275594"/>
                  </a:lnTo>
                  <a:lnTo>
                    <a:pt x="0" y="144780"/>
                  </a:lnTo>
                  <a:close/>
                  <a:moveTo>
                    <a:pt x="0" y="10275594"/>
                  </a:moveTo>
                  <a:lnTo>
                    <a:pt x="144780" y="10275594"/>
                  </a:lnTo>
                  <a:lnTo>
                    <a:pt x="144780" y="10420373"/>
                  </a:lnTo>
                  <a:lnTo>
                    <a:pt x="0" y="10420373"/>
                  </a:lnTo>
                  <a:lnTo>
                    <a:pt x="0" y="10275594"/>
                  </a:lnTo>
                  <a:close/>
                  <a:moveTo>
                    <a:pt x="40274506" y="144780"/>
                  </a:moveTo>
                  <a:lnTo>
                    <a:pt x="40419285" y="144780"/>
                  </a:lnTo>
                  <a:lnTo>
                    <a:pt x="40419285" y="10275594"/>
                  </a:lnTo>
                  <a:lnTo>
                    <a:pt x="40274506" y="10275594"/>
                  </a:lnTo>
                  <a:lnTo>
                    <a:pt x="40274506" y="144780"/>
                  </a:lnTo>
                  <a:close/>
                  <a:moveTo>
                    <a:pt x="144780" y="10275594"/>
                  </a:moveTo>
                  <a:lnTo>
                    <a:pt x="40274506" y="10275594"/>
                  </a:lnTo>
                  <a:lnTo>
                    <a:pt x="40274506" y="10420373"/>
                  </a:lnTo>
                  <a:lnTo>
                    <a:pt x="144780" y="10420373"/>
                  </a:lnTo>
                  <a:lnTo>
                    <a:pt x="144780" y="10275594"/>
                  </a:lnTo>
                  <a:close/>
                  <a:moveTo>
                    <a:pt x="40274506" y="0"/>
                  </a:moveTo>
                  <a:lnTo>
                    <a:pt x="40419285" y="0"/>
                  </a:lnTo>
                  <a:lnTo>
                    <a:pt x="40419285" y="144780"/>
                  </a:lnTo>
                  <a:lnTo>
                    <a:pt x="40274506" y="144780"/>
                  </a:lnTo>
                  <a:lnTo>
                    <a:pt x="40274506" y="0"/>
                  </a:lnTo>
                  <a:close/>
                  <a:moveTo>
                    <a:pt x="0" y="0"/>
                  </a:moveTo>
                  <a:lnTo>
                    <a:pt x="144780" y="0"/>
                  </a:lnTo>
                  <a:lnTo>
                    <a:pt x="144780" y="144780"/>
                  </a:lnTo>
                  <a:lnTo>
                    <a:pt x="0" y="144780"/>
                  </a:lnTo>
                  <a:lnTo>
                    <a:pt x="0" y="0"/>
                  </a:lnTo>
                  <a:close/>
                  <a:moveTo>
                    <a:pt x="144780" y="0"/>
                  </a:moveTo>
                  <a:lnTo>
                    <a:pt x="40274506" y="0"/>
                  </a:lnTo>
                  <a:lnTo>
                    <a:pt x="40274506" y="144780"/>
                  </a:lnTo>
                  <a:lnTo>
                    <a:pt x="144780" y="144780"/>
                  </a:lnTo>
                  <a:lnTo>
                    <a:pt x="144780" y="0"/>
                  </a:lnTo>
                  <a:close/>
                </a:path>
              </a:pathLst>
            </a:custGeom>
            <a:solidFill>
              <a:srgbClr val="1B1464"/>
            </a:solid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2" name="Freeform 42"/>
          <p:cNvSpPr/>
          <p:nvPr/>
        </p:nvSpPr>
        <p:spPr>
          <a:xfrm>
            <a:off x="1603691" y="527665"/>
            <a:ext cx="1073750" cy="462558"/>
          </a:xfrm>
          <a:custGeom>
            <a:avLst/>
            <a:gdLst/>
            <a:ahLst/>
            <a:cxnLst/>
            <a:rect l="l" t="t" r="r" b="b"/>
            <a:pathLst>
              <a:path w="1127438" h="485686">
                <a:moveTo>
                  <a:pt x="0" y="0"/>
                </a:moveTo>
                <a:lnTo>
                  <a:pt x="1127438" y="0"/>
                </a:lnTo>
                <a:lnTo>
                  <a:pt x="1127438" y="485686"/>
                </a:lnTo>
                <a:lnTo>
                  <a:pt x="0" y="485686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44" name="Group 44"/>
          <p:cNvGrpSpPr/>
          <p:nvPr/>
        </p:nvGrpSpPr>
        <p:grpSpPr>
          <a:xfrm>
            <a:off x="4212578" y="782219"/>
            <a:ext cx="3774844" cy="1025224"/>
            <a:chOff x="0" y="57149"/>
            <a:chExt cx="5284782" cy="1435314"/>
          </a:xfrm>
        </p:grpSpPr>
        <p:sp>
          <p:nvSpPr>
            <p:cNvPr id="45" name="TextBox 45"/>
            <p:cNvSpPr txBox="1"/>
            <p:nvPr/>
          </p:nvSpPr>
          <p:spPr>
            <a:xfrm>
              <a:off x="0" y="1213063"/>
              <a:ext cx="5284782" cy="27940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599"/>
                </a:lnSpc>
              </a:pPr>
              <a:r>
                <a:rPr lang="en-US" sz="1332">
                  <a:solidFill>
                    <a:srgbClr val="1B1464"/>
                  </a:solidFill>
                  <a:latin typeface="HK Grotesk"/>
                </a:rPr>
                <a:t>Share the great work that your ESSI Team is doing! </a:t>
              </a:r>
            </a:p>
          </p:txBody>
        </p:sp>
        <p:sp>
          <p:nvSpPr>
            <p:cNvPr id="46" name="TextBox 46"/>
            <p:cNvSpPr txBox="1"/>
            <p:nvPr/>
          </p:nvSpPr>
          <p:spPr>
            <a:xfrm>
              <a:off x="0" y="57149"/>
              <a:ext cx="5284782" cy="94660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37"/>
                </a:lnSpc>
              </a:pPr>
              <a:r>
                <a:rPr lang="en-US" sz="3400">
                  <a:solidFill>
                    <a:srgbClr val="1B1464"/>
                  </a:solidFill>
                  <a:latin typeface="TAN Tangkiwood"/>
                </a:rPr>
                <a:t>2024 F2F Neonatal Storyboards</a:t>
              </a:r>
            </a:p>
          </p:txBody>
        </p:sp>
      </p:grpSp>
      <p:sp>
        <p:nvSpPr>
          <p:cNvPr id="47" name="TextBox 47"/>
          <p:cNvSpPr txBox="1"/>
          <p:nvPr/>
        </p:nvSpPr>
        <p:spPr>
          <a:xfrm>
            <a:off x="2309031" y="5820685"/>
            <a:ext cx="2323291" cy="4041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599"/>
              </a:lnSpc>
              <a:spcBef>
                <a:spcPct val="0"/>
              </a:spcBef>
            </a:pPr>
            <a:r>
              <a:rPr lang="en-US" sz="1300" b="1">
                <a:solidFill>
                  <a:srgbClr val="1B1464"/>
                </a:solidFill>
                <a:ea typeface="+mn-lt"/>
                <a:cs typeface="+mn-lt"/>
              </a:rPr>
              <a:t>Introduce your hospital and ESSI QI Team</a:t>
            </a:r>
            <a:endParaRPr lang="en-US">
              <a:ea typeface="+mn-lt"/>
              <a:cs typeface="+mn-lt"/>
            </a:endParaRPr>
          </a:p>
        </p:txBody>
      </p:sp>
      <p:sp>
        <p:nvSpPr>
          <p:cNvPr id="48" name="TextBox 48"/>
          <p:cNvSpPr txBox="1"/>
          <p:nvPr/>
        </p:nvSpPr>
        <p:spPr>
          <a:xfrm>
            <a:off x="4837376" y="5762183"/>
            <a:ext cx="2559683" cy="4923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256"/>
              </a:lnSpc>
              <a:spcBef>
                <a:spcPct val="0"/>
              </a:spcBef>
            </a:pPr>
            <a:r>
              <a:rPr lang="en-US" sz="1000" b="1">
                <a:solidFill>
                  <a:srgbClr val="1B1464"/>
                </a:solidFill>
                <a:latin typeface="HK Grotesk Bold"/>
              </a:rPr>
              <a:t>Kickstarting ESSI at your hospital. Share successes, opportunities of Equitable and Respectful Care Education implementation.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7573013" y="5764079"/>
            <a:ext cx="2423185" cy="49391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256"/>
              </a:lnSpc>
              <a:spcBef>
                <a:spcPct val="0"/>
              </a:spcBef>
            </a:pPr>
            <a:r>
              <a:rPr lang="en-US" sz="1000" b="1">
                <a:solidFill>
                  <a:srgbClr val="1B1464"/>
                </a:solidFill>
                <a:latin typeface="HK Grotesk Bold"/>
              </a:rPr>
              <a:t>Share successes, opportunities of Safe Sleep Education implementation. Share ESSI 2024 Summer Planning goals. </a:t>
            </a:r>
            <a:endParaRPr lang="en-US"/>
          </a:p>
        </p:txBody>
      </p:sp>
      <p:pic>
        <p:nvPicPr>
          <p:cNvPr id="51" name="Picture 50" descr="A logo with black text&#10;&#10;Description automatically generated">
            <a:extLst>
              <a:ext uri="{FF2B5EF4-FFF2-40B4-BE49-F238E27FC236}">
                <a16:creationId xmlns:a16="http://schemas.microsoft.com/office/drawing/2014/main" id="{71B05762-4A76-D29F-133E-F13A5499E95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9336" y="2393740"/>
            <a:ext cx="1788723" cy="963463"/>
          </a:xfrm>
          <a:prstGeom prst="rect">
            <a:avLst/>
          </a:prstGeom>
        </p:spPr>
      </p:pic>
      <p:pic>
        <p:nvPicPr>
          <p:cNvPr id="52" name="Picture 51" descr="A map with a red star&#10;&#10;Description automatically generated">
            <a:extLst>
              <a:ext uri="{FF2B5EF4-FFF2-40B4-BE49-F238E27FC236}">
                <a16:creationId xmlns:a16="http://schemas.microsoft.com/office/drawing/2014/main" id="{FF9C82C7-C243-8E0C-A242-7926AA63ACB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4753" y="3419386"/>
            <a:ext cx="1754758" cy="1097533"/>
          </a:xfrm>
          <a:prstGeom prst="rect">
            <a:avLst/>
          </a:prstGeom>
        </p:spPr>
      </p:pic>
      <p:pic>
        <p:nvPicPr>
          <p:cNvPr id="53" name="Picture 52" descr="A group of text on a white background&#10;&#10;Description automatically generated">
            <a:extLst>
              <a:ext uri="{FF2B5EF4-FFF2-40B4-BE49-F238E27FC236}">
                <a16:creationId xmlns:a16="http://schemas.microsoft.com/office/drawing/2014/main" id="{00766143-BFDB-8FFA-19C2-6FCEBEF26B1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4844" y="4588893"/>
            <a:ext cx="1783332" cy="972630"/>
          </a:xfrm>
          <a:prstGeom prst="rect">
            <a:avLst/>
          </a:prstGeom>
        </p:spPr>
      </p:pic>
      <p:pic>
        <p:nvPicPr>
          <p:cNvPr id="54" name="Picture 53" descr="A white background with black text&#10;&#10;Description automatically generated">
            <a:extLst>
              <a:ext uri="{FF2B5EF4-FFF2-40B4-BE49-F238E27FC236}">
                <a16:creationId xmlns:a16="http://schemas.microsoft.com/office/drawing/2014/main" id="{428A8923-5FB8-ADFB-D22A-E7B8C29FD8A3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8015" y="2398143"/>
            <a:ext cx="1880189" cy="958683"/>
          </a:xfrm>
          <a:prstGeom prst="rect">
            <a:avLst/>
          </a:prstGeom>
        </p:spPr>
      </p:pic>
      <p:pic>
        <p:nvPicPr>
          <p:cNvPr id="55" name="Picture 54" descr="A white background with black text&#10;&#10;Description automatically generated">
            <a:extLst>
              <a:ext uri="{FF2B5EF4-FFF2-40B4-BE49-F238E27FC236}">
                <a16:creationId xmlns:a16="http://schemas.microsoft.com/office/drawing/2014/main" id="{73D7FCE7-01C8-0330-52E0-F8C124DFE84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237" y="3396807"/>
            <a:ext cx="1883686" cy="1111634"/>
          </a:xfrm>
          <a:prstGeom prst="rect">
            <a:avLst/>
          </a:prstGeom>
        </p:spPr>
      </p:pic>
      <p:pic>
        <p:nvPicPr>
          <p:cNvPr id="56" name="Picture 55" descr="A white background with black text&#10;&#10;Description automatically generated">
            <a:extLst>
              <a:ext uri="{FF2B5EF4-FFF2-40B4-BE49-F238E27FC236}">
                <a16:creationId xmlns:a16="http://schemas.microsoft.com/office/drawing/2014/main" id="{9700AD06-56E4-9B57-2D22-2D73CD00CAB5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6852" y="4581278"/>
            <a:ext cx="1903431" cy="1031985"/>
          </a:xfrm>
          <a:prstGeom prst="rect">
            <a:avLst/>
          </a:prstGeom>
        </p:spPr>
      </p:pic>
      <p:pic>
        <p:nvPicPr>
          <p:cNvPr id="57" name="Picture 56" descr="A white background with black text&#10;&#10;Description automatically generated">
            <a:extLst>
              <a:ext uri="{FF2B5EF4-FFF2-40B4-BE49-F238E27FC236}">
                <a16:creationId xmlns:a16="http://schemas.microsoft.com/office/drawing/2014/main" id="{E310F409-131D-0C7A-00F2-2C9DDC84FBD6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3269" y="4585910"/>
            <a:ext cx="1851793" cy="1050675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FE465F86-4EE0-F185-62E4-3DD367A2806A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6210" y="2396490"/>
            <a:ext cx="1871980" cy="1008380"/>
          </a:xfrm>
          <a:prstGeom prst="rect">
            <a:avLst/>
          </a:prstGeom>
        </p:spPr>
      </p:pic>
      <p:pic>
        <p:nvPicPr>
          <p:cNvPr id="60" name="Picture 59" descr="A white text with black text&#10;&#10;Description automatically generated">
            <a:extLst>
              <a:ext uri="{FF2B5EF4-FFF2-40B4-BE49-F238E27FC236}">
                <a16:creationId xmlns:a16="http://schemas.microsoft.com/office/drawing/2014/main" id="{533608E3-E6BE-2EF9-A207-F8DC4C239BC4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927" y="3468370"/>
            <a:ext cx="1851025" cy="1069340"/>
          </a:xfrm>
          <a:prstGeom prst="rect">
            <a:avLst/>
          </a:prstGeom>
        </p:spPr>
      </p:pic>
      <p:sp>
        <p:nvSpPr>
          <p:cNvPr id="43" name="Freeform 43"/>
          <p:cNvSpPr/>
          <p:nvPr/>
        </p:nvSpPr>
        <p:spPr>
          <a:xfrm>
            <a:off x="9117377" y="2870736"/>
            <a:ext cx="3121749" cy="3033601"/>
          </a:xfrm>
          <a:custGeom>
            <a:avLst/>
            <a:gdLst/>
            <a:ahLst/>
            <a:cxnLst/>
            <a:rect l="l" t="t" r="r" b="b"/>
            <a:pathLst>
              <a:path w="1260606" h="1170788">
                <a:moveTo>
                  <a:pt x="0" y="0"/>
                </a:moveTo>
                <a:lnTo>
                  <a:pt x="1260605" y="0"/>
                </a:lnTo>
                <a:lnTo>
                  <a:pt x="1260605" y="1170787"/>
                </a:lnTo>
                <a:lnTo>
                  <a:pt x="0" y="1170787"/>
                </a:lnTo>
                <a:lnTo>
                  <a:pt x="0" y="0"/>
                </a:lnTo>
                <a:close/>
              </a:path>
            </a:pathLst>
          </a:custGeom>
          <a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0" name="TextBox 50"/>
          <p:cNvSpPr txBox="1"/>
          <p:nvPr/>
        </p:nvSpPr>
        <p:spPr>
          <a:xfrm>
            <a:off x="9504218" y="2930537"/>
            <a:ext cx="2356653" cy="138499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ts val="200"/>
              </a:spcBef>
            </a:pPr>
            <a:r>
              <a:rPr lang="en-US" b="1">
                <a:solidFill>
                  <a:srgbClr val="FF0000"/>
                </a:solidFill>
                <a:latin typeface="Canva Sans Bold"/>
              </a:rPr>
              <a:t>See the chat for the Storyboard templates! Also available on F2F Webpage and in newsletter</a:t>
            </a:r>
            <a:endParaRPr lang="en-US">
              <a:cs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3763629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55" name="Google Shape;11955;p5"/>
          <p:cNvSpPr/>
          <p:nvPr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56" name="Google Shape;11956;p5"/>
          <p:cNvSpPr txBox="1">
            <a:spLocks noGrp="1"/>
          </p:cNvSpPr>
          <p:nvPr>
            <p:ph type="title"/>
          </p:nvPr>
        </p:nvSpPr>
        <p:spPr>
          <a:xfrm>
            <a:off x="255289" y="65729"/>
            <a:ext cx="3783994" cy="55831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5400"/>
              <a:buFont typeface="Calibri"/>
              <a:buNone/>
            </a:pPr>
            <a:r>
              <a:rPr lang="en-US" sz="5400"/>
              <a:t>Upcoming Face-to-Face 2024 Prep</a:t>
            </a:r>
            <a:endParaRPr sz="5400"/>
          </a:p>
        </p:txBody>
      </p:sp>
      <p:sp>
        <p:nvSpPr>
          <p:cNvPr id="11957" name="Google Shape;11957;p5"/>
          <p:cNvSpPr/>
          <p:nvPr/>
        </p:nvSpPr>
        <p:spPr>
          <a:xfrm rot="5400000">
            <a:off x="1627450" y="3462719"/>
            <a:ext cx="5410200" cy="18288"/>
          </a:xfrm>
          <a:custGeom>
            <a:avLst/>
            <a:gdLst/>
            <a:ahLst/>
            <a:cxnLst/>
            <a:rect l="l" t="t" r="r" b="b"/>
            <a:pathLst>
              <a:path w="5410200" h="18288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10730" y="6954"/>
                  <a:pt x="5410934" y="12839"/>
                  <a:pt x="5410200" y="18288"/>
                </a:cubicBezTo>
                <a:cubicBezTo>
                  <a:pt x="5139060" y="6751"/>
                  <a:pt x="5121593" y="31035"/>
                  <a:pt x="4842129" y="18288"/>
                </a:cubicBezTo>
                <a:cubicBezTo>
                  <a:pt x="4562665" y="5541"/>
                  <a:pt x="4448273" y="9487"/>
                  <a:pt x="4328160" y="18288"/>
                </a:cubicBezTo>
                <a:cubicBezTo>
                  <a:pt x="4208047" y="27089"/>
                  <a:pt x="3760936" y="22567"/>
                  <a:pt x="3597783" y="18288"/>
                </a:cubicBezTo>
                <a:cubicBezTo>
                  <a:pt x="3434630" y="14009"/>
                  <a:pt x="3299718" y="33213"/>
                  <a:pt x="3029712" y="18288"/>
                </a:cubicBezTo>
                <a:cubicBezTo>
                  <a:pt x="2759706" y="3363"/>
                  <a:pt x="2640159" y="27394"/>
                  <a:pt x="2299335" y="18288"/>
                </a:cubicBezTo>
                <a:cubicBezTo>
                  <a:pt x="1958511" y="9182"/>
                  <a:pt x="1801186" y="28985"/>
                  <a:pt x="1514856" y="18288"/>
                </a:cubicBezTo>
                <a:cubicBezTo>
                  <a:pt x="1228526" y="7591"/>
                  <a:pt x="1063509" y="-5305"/>
                  <a:pt x="892683" y="18288"/>
                </a:cubicBezTo>
                <a:cubicBezTo>
                  <a:pt x="721857" y="41881"/>
                  <a:pt x="186945" y="-20897"/>
                  <a:pt x="0" y="18288"/>
                </a:cubicBezTo>
                <a:cubicBezTo>
                  <a:pt x="-570" y="9279"/>
                  <a:pt x="132" y="5100"/>
                  <a:pt x="0" y="0"/>
                </a:cubicBezTo>
                <a:close/>
              </a:path>
              <a:path w="5410200" h="18288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09517" y="5414"/>
                  <a:pt x="5409480" y="12510"/>
                  <a:pt x="5410200" y="18288"/>
                </a:cubicBezTo>
                <a:cubicBezTo>
                  <a:pt x="5163327" y="41494"/>
                  <a:pt x="5008749" y="10693"/>
                  <a:pt x="4842129" y="18288"/>
                </a:cubicBezTo>
                <a:cubicBezTo>
                  <a:pt x="4675509" y="25883"/>
                  <a:pt x="4433401" y="-615"/>
                  <a:pt x="4165854" y="18288"/>
                </a:cubicBezTo>
                <a:cubicBezTo>
                  <a:pt x="3898308" y="37191"/>
                  <a:pt x="3809032" y="-8710"/>
                  <a:pt x="3543681" y="18288"/>
                </a:cubicBezTo>
                <a:cubicBezTo>
                  <a:pt x="3278330" y="45286"/>
                  <a:pt x="3073876" y="-15917"/>
                  <a:pt x="2759202" y="18288"/>
                </a:cubicBezTo>
                <a:cubicBezTo>
                  <a:pt x="2444528" y="52493"/>
                  <a:pt x="2204144" y="3372"/>
                  <a:pt x="1974723" y="18288"/>
                </a:cubicBezTo>
                <a:cubicBezTo>
                  <a:pt x="1745302" y="33204"/>
                  <a:pt x="1602335" y="31490"/>
                  <a:pt x="1406652" y="18288"/>
                </a:cubicBezTo>
                <a:cubicBezTo>
                  <a:pt x="1210969" y="5086"/>
                  <a:pt x="923948" y="3161"/>
                  <a:pt x="730377" y="18288"/>
                </a:cubicBezTo>
                <a:cubicBezTo>
                  <a:pt x="536806" y="33415"/>
                  <a:pt x="336496" y="-141"/>
                  <a:pt x="0" y="18288"/>
                </a:cubicBezTo>
                <a:cubicBezTo>
                  <a:pt x="-306" y="11061"/>
                  <a:pt x="-655" y="7751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58" name="Google Shape;11958;p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11959" name="Google Shape;11959;p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  <p:grpSp>
        <p:nvGrpSpPr>
          <p:cNvPr id="11960" name="Google Shape;11960;p5"/>
          <p:cNvGrpSpPr/>
          <p:nvPr/>
        </p:nvGrpSpPr>
        <p:grpSpPr>
          <a:xfrm>
            <a:off x="4705527" y="619341"/>
            <a:ext cx="7101795" cy="5924160"/>
            <a:chOff x="0" y="64782"/>
            <a:chExt cx="7101795" cy="5924160"/>
          </a:xfrm>
        </p:grpSpPr>
        <p:sp>
          <p:nvSpPr>
            <p:cNvPr id="11961" name="Google Shape;11961;p5"/>
            <p:cNvSpPr/>
            <p:nvPr/>
          </p:nvSpPr>
          <p:spPr>
            <a:xfrm>
              <a:off x="0" y="389502"/>
              <a:ext cx="7101795" cy="1247400"/>
            </a:xfrm>
            <a:prstGeom prst="rect">
              <a:avLst/>
            </a:prstGeom>
            <a:solidFill>
              <a:schemeClr val="lt1">
                <a:alpha val="89803"/>
              </a:schemeClr>
            </a:solidFill>
            <a:ln w="12700" cap="flat" cmpd="sng">
              <a:solidFill>
                <a:srgbClr val="F5658F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2" name="Google Shape;11962;p5"/>
            <p:cNvSpPr txBox="1"/>
            <p:nvPr/>
          </p:nvSpPr>
          <p:spPr>
            <a:xfrm>
              <a:off x="0" y="389502"/>
              <a:ext cx="7101795" cy="124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51175" tIns="458200" rIns="551175" bIns="156450" anchor="t" anchorCtr="0">
              <a:noAutofit/>
            </a:bodyPr>
            <a:lstStyle/>
            <a:p>
              <a:pPr marL="228600" lvl="1" indent="-228600">
                <a:lnSpc>
                  <a:spcPct val="90000"/>
                </a:lnSpc>
                <a:buClr>
                  <a:schemeClr val="dk1"/>
                </a:buClr>
                <a:buSzPts val="2200"/>
                <a:buFont typeface="Calibri"/>
                <a:buChar char="•"/>
              </a:pPr>
              <a:r>
                <a:rPr lang="en-US" sz="22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All </a:t>
              </a:r>
              <a:r>
                <a:rPr lang="en-US" sz="22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ESSI data</a:t>
              </a:r>
              <a:r>
                <a:rPr lang="en-US" sz="22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baseline-March 2024 will be </a:t>
              </a:r>
              <a:r>
                <a:rPr lang="en-US" sz="22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due on April </a:t>
              </a:r>
              <a:r>
                <a:rPr lang="en-US" sz="2200" b="1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30</a:t>
              </a:r>
              <a:r>
                <a:rPr lang="en-US" sz="22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, 2024,</a:t>
              </a:r>
              <a:r>
                <a:rPr lang="en-US" sz="22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 for award consideration.</a:t>
              </a:r>
              <a:endParaRPr sz="2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63" name="Google Shape;11963;p5"/>
            <p:cNvSpPr/>
            <p:nvPr/>
          </p:nvSpPr>
          <p:spPr>
            <a:xfrm>
              <a:off x="355089" y="64782"/>
              <a:ext cx="4971256" cy="649440"/>
            </a:xfrm>
            <a:prstGeom prst="roundRect">
              <a:avLst>
                <a:gd name="adj" fmla="val 16667"/>
              </a:avLst>
            </a:prstGeom>
            <a:solidFill>
              <a:srgbClr val="F5658F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4" name="Google Shape;11964;p5"/>
            <p:cNvSpPr txBox="1"/>
            <p:nvPr/>
          </p:nvSpPr>
          <p:spPr>
            <a:xfrm>
              <a:off x="386792" y="96485"/>
              <a:ext cx="4907850" cy="586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7900" tIns="0" rIns="18790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200"/>
                <a:buFont typeface="Calibri"/>
                <a:buNone/>
              </a:pPr>
              <a:r>
                <a:rPr lang="en-US" sz="2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 </a:t>
              </a:r>
              <a:r>
                <a:rPr lang="en-US" sz="2200" b="1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Submit your Data!</a:t>
              </a:r>
              <a:r>
                <a:rPr lang="en-US" sz="2200" b="1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 </a:t>
              </a:r>
              <a:endParaRPr sz="22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65" name="Google Shape;11965;p5"/>
            <p:cNvSpPr/>
            <p:nvPr/>
          </p:nvSpPr>
          <p:spPr>
            <a:xfrm>
              <a:off x="0" y="2080422"/>
              <a:ext cx="7101795" cy="1559250"/>
            </a:xfrm>
            <a:prstGeom prst="rect">
              <a:avLst/>
            </a:prstGeom>
            <a:solidFill>
              <a:schemeClr val="lt1">
                <a:alpha val="89803"/>
              </a:schemeClr>
            </a:solidFill>
            <a:ln w="12700" cap="flat" cmpd="sng">
              <a:solidFill>
                <a:srgbClr val="65F5EE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6" name="Google Shape;11966;p5"/>
            <p:cNvSpPr txBox="1"/>
            <p:nvPr/>
          </p:nvSpPr>
          <p:spPr>
            <a:xfrm>
              <a:off x="0" y="2080422"/>
              <a:ext cx="7101795" cy="1559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51175" tIns="458200" rIns="551175" bIns="156450" anchor="t" anchorCtr="0">
              <a:noAutofit/>
            </a:bodyPr>
            <a:lstStyle/>
            <a:p>
              <a:pPr marL="228600" marR="0" lvl="1" indent="-22860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200"/>
                <a:buFont typeface="Calibri"/>
                <a:buChar char="•"/>
              </a:pPr>
              <a:r>
                <a:rPr lang="en-US" sz="22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Templates in the chat and the on F2F page!</a:t>
              </a:r>
              <a:r>
                <a:rPr lang="en-US" sz="22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 All hospital teams are asked to create a storyboard on their QI work.</a:t>
              </a:r>
              <a:endParaRPr sz="2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67" name="Google Shape;11967;p5"/>
            <p:cNvSpPr/>
            <p:nvPr/>
          </p:nvSpPr>
          <p:spPr>
            <a:xfrm>
              <a:off x="355089" y="1755702"/>
              <a:ext cx="4971256" cy="649440"/>
            </a:xfrm>
            <a:prstGeom prst="roundRect">
              <a:avLst>
                <a:gd name="adj" fmla="val 16667"/>
              </a:avLst>
            </a:prstGeom>
            <a:solidFill>
              <a:srgbClr val="65F5EE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8" name="Google Shape;11968;p5"/>
            <p:cNvSpPr txBox="1"/>
            <p:nvPr/>
          </p:nvSpPr>
          <p:spPr>
            <a:xfrm>
              <a:off x="386792" y="1787405"/>
              <a:ext cx="4907850" cy="586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7900" tIns="0" rIns="18790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2200"/>
                <a:buFont typeface="Calibri"/>
                <a:buNone/>
              </a:pPr>
              <a:r>
                <a:rPr lang="en-US" sz="2200" b="1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Call for Storyboards!</a:t>
              </a:r>
              <a:endParaRPr sz="22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69" name="Google Shape;11969;p5"/>
            <p:cNvSpPr/>
            <p:nvPr/>
          </p:nvSpPr>
          <p:spPr>
            <a:xfrm>
              <a:off x="0" y="4083192"/>
              <a:ext cx="7101795" cy="1905750"/>
            </a:xfrm>
            <a:prstGeom prst="rect">
              <a:avLst/>
            </a:prstGeom>
            <a:solidFill>
              <a:schemeClr val="lt1">
                <a:alpha val="89803"/>
              </a:schemeClr>
            </a:solidFill>
            <a:ln w="12700" cap="flat" cmpd="sng">
              <a:solidFill>
                <a:srgbClr val="F5836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0" name="Google Shape;11970;p5"/>
            <p:cNvSpPr txBox="1"/>
            <p:nvPr/>
          </p:nvSpPr>
          <p:spPr>
            <a:xfrm>
              <a:off x="0" y="4083192"/>
              <a:ext cx="7049841" cy="189709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51175" tIns="458200" rIns="551175" bIns="156450" anchor="t" anchorCtr="0">
              <a:noAutofit/>
            </a:bodyPr>
            <a:lstStyle/>
            <a:p>
              <a:pPr marL="228600" lvl="1" indent="-228600">
                <a:lnSpc>
                  <a:spcPct val="90000"/>
                </a:lnSpc>
                <a:buClr>
                  <a:schemeClr val="dk1"/>
                </a:buClr>
                <a:buSzPts val="2200"/>
                <a:buFont typeface="Calibri"/>
                <a:buChar char="•"/>
              </a:pPr>
              <a:r>
                <a:rPr lang="en-US" sz="20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Early Bird Registration: March 11</a:t>
              </a:r>
              <a:r>
                <a:rPr lang="en-US" sz="2000" b="0" i="0" u="none" strike="noStrike" cap="none" baseline="300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th</a:t>
              </a:r>
              <a:r>
                <a:rPr lang="en-US" sz="20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– April 8</a:t>
              </a:r>
              <a:r>
                <a:rPr lang="en-US" sz="2000" b="0" i="0" u="none" strike="noStrike" cap="none" baseline="300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th</a:t>
              </a:r>
              <a:r>
                <a:rPr lang="en-US" sz="20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 </a:t>
              </a:r>
              <a:endParaRPr lang="en-US" sz="2000" b="0" i="0" u="none" strike="noStrike" cap="none" baseline="30000">
                <a:solidFill>
                  <a:schemeClr val="dk1"/>
                </a:solidFill>
                <a:latin typeface="Calibri"/>
                <a:ea typeface="Calibri"/>
                <a:cs typeface="Calibri"/>
              </a:endParaRPr>
            </a:p>
            <a:p>
              <a:pPr lvl="3">
                <a:lnSpc>
                  <a:spcPct val="90000"/>
                </a:lnSpc>
                <a:buClr>
                  <a:schemeClr val="dk1"/>
                </a:buClr>
                <a:buSzPts val="2200"/>
              </a:pPr>
              <a:r>
                <a:rPr lang="en-US" sz="2000" b="1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$75/day or $145/both days</a:t>
              </a:r>
              <a:endParaRPr lang="en-US"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</a:endParaRPr>
            </a:p>
            <a:p>
              <a:pPr marL="228600" lvl="1" indent="-228600">
                <a:lnSpc>
                  <a:spcPct val="90000"/>
                </a:lnSpc>
                <a:buClr>
                  <a:schemeClr val="dk1"/>
                </a:buClr>
                <a:buSzPts val="2200"/>
                <a:buFont typeface="Calibri"/>
                <a:buChar char="•"/>
              </a:pPr>
              <a:r>
                <a:rPr lang="en-US" sz="20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Regular Registration: April 9</a:t>
              </a:r>
              <a:r>
                <a:rPr lang="en-US" sz="2000" baseline="300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th</a:t>
              </a:r>
              <a:r>
                <a:rPr lang="en-US" sz="20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– April 26</a:t>
              </a:r>
              <a:r>
                <a:rPr lang="en-US" sz="2000" baseline="300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th</a:t>
              </a:r>
              <a:r>
                <a:rPr lang="en-US" sz="20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   </a:t>
              </a:r>
              <a:endParaRPr lang="en-US" sz="2000" b="0" i="0" u="none" strike="noStrike" cap="none">
                <a:solidFill>
                  <a:schemeClr val="dk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endParaRPr>
            </a:p>
            <a:p>
              <a:pPr lvl="2">
                <a:lnSpc>
                  <a:spcPct val="90000"/>
                </a:lnSpc>
                <a:buClr>
                  <a:schemeClr val="dk1"/>
                </a:buClr>
                <a:buSzPts val="2200"/>
              </a:pPr>
              <a:r>
                <a:rPr lang="en-US" sz="2000" b="1">
                  <a:latin typeface="Calibri"/>
                  <a:cs typeface="Calibri"/>
                </a:rPr>
                <a:t>$100/day or $200/both days</a:t>
              </a:r>
              <a:endParaRPr sz="2000" b="1">
                <a:latin typeface="Calibri"/>
                <a:cs typeface="Calibri"/>
              </a:endParaRPr>
            </a:p>
          </p:txBody>
        </p:sp>
        <p:sp>
          <p:nvSpPr>
            <p:cNvPr id="11971" name="Google Shape;11971;p5"/>
            <p:cNvSpPr/>
            <p:nvPr/>
          </p:nvSpPr>
          <p:spPr>
            <a:xfrm>
              <a:off x="355089" y="3758472"/>
              <a:ext cx="4971256" cy="649440"/>
            </a:xfrm>
            <a:prstGeom prst="roundRect">
              <a:avLst>
                <a:gd name="adj" fmla="val 16667"/>
              </a:avLst>
            </a:prstGeom>
            <a:solidFill>
              <a:srgbClr val="F58365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2" name="Google Shape;11972;p5"/>
            <p:cNvSpPr txBox="1"/>
            <p:nvPr/>
          </p:nvSpPr>
          <p:spPr>
            <a:xfrm>
              <a:off x="386792" y="3790175"/>
              <a:ext cx="4907850" cy="586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7900" tIns="0" rIns="18790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2200"/>
                <a:buFont typeface="Calibri"/>
                <a:buNone/>
              </a:pPr>
              <a:r>
                <a:rPr lang="en-US" sz="2200" b="1" u="none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Register for F2F 2024! </a:t>
              </a:r>
              <a:endParaRPr/>
            </a:p>
          </p:txBody>
        </p:sp>
      </p:grpSp>
      <p:sp>
        <p:nvSpPr>
          <p:cNvPr id="11973" name="Google Shape;11973;p5"/>
          <p:cNvSpPr/>
          <p:nvPr/>
        </p:nvSpPr>
        <p:spPr>
          <a:xfrm>
            <a:off x="184777" y="4670353"/>
            <a:ext cx="3925017" cy="1653396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12700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ta Due: </a:t>
            </a:r>
            <a:endParaRPr sz="2000"/>
          </a:p>
          <a:p>
            <a:pPr algn="ctr"/>
            <a:r>
              <a:rPr lang="en-US" sz="3200" b="1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rPr>
              <a:t>Tuesday </a:t>
            </a:r>
          </a:p>
          <a:p>
            <a:pPr marL="0" marR="0" lv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rPr>
              <a:t>April 30</a:t>
            </a:r>
            <a:r>
              <a:rPr lang="en-US" sz="3200" b="1" baseline="30000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rPr>
              <a:t>th</a:t>
            </a:r>
            <a:r>
              <a:rPr lang="en-US" sz="3200" b="1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rPr>
              <a:t>, 2024</a:t>
            </a:r>
            <a:endParaRPr sz="2000">
              <a:solidFill>
                <a:schemeClr val="dk1"/>
              </a:solidFill>
            </a:endParaRPr>
          </a:p>
        </p:txBody>
      </p:sp>
      <p:pic>
        <p:nvPicPr>
          <p:cNvPr id="2" name="Picture 1" descr="A qr code with text&#10;&#10;Description automatically generated">
            <a:extLst>
              <a:ext uri="{FF2B5EF4-FFF2-40B4-BE49-F238E27FC236}">
                <a16:creationId xmlns:a16="http://schemas.microsoft.com/office/drawing/2014/main" id="{F3D724F6-6F8E-69BE-F733-C68DB4BF1DB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19843" y="4307032"/>
            <a:ext cx="1944906" cy="2408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0431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50E6DC-BCB6-7021-74E4-A553695C7B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94" y="1070800"/>
            <a:ext cx="3939688" cy="5583126"/>
          </a:xfrm>
        </p:spPr>
        <p:txBody>
          <a:bodyPr>
            <a:normAutofit/>
          </a:bodyPr>
          <a:lstStyle/>
          <a:p>
            <a:pPr algn="r"/>
            <a:r>
              <a:rPr lang="en-US" sz="8000">
                <a:solidFill>
                  <a:srgbClr val="1C498B"/>
                </a:solidFill>
                <a:latin typeface="Prompt"/>
                <a:ea typeface="Lato Medium"/>
                <a:cs typeface="Prompt"/>
              </a:rPr>
              <a:t>ESSI Launch Award Criteria</a:t>
            </a:r>
            <a:endParaRPr lang="en-US" sz="8000">
              <a:solidFill>
                <a:srgbClr val="1C498B"/>
              </a:solidFill>
              <a:latin typeface="Prompt"/>
              <a:cs typeface="Prompt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B0E1BB-D0B5-7D22-2E3B-1C4FE9EB1B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32040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>
                    <a:alpha val="60000"/>
                  </a:schemeClr>
                </a:solidFill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BFD39A-017D-DA82-0009-376839B3F9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32040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dirty="0">
                <a:solidFill>
                  <a:schemeClr val="tx1">
                    <a:alpha val="60000"/>
                  </a:schemeClr>
                </a:solidFill>
              </a:rPr>
              <a:pPr>
                <a:spcAft>
                  <a:spcPts val="600"/>
                </a:spcAft>
              </a:pPr>
              <a:t>12</a:t>
            </a:fld>
            <a:endParaRPr lang="en-US">
              <a:solidFill>
                <a:schemeClr val="tx1">
                  <a:alpha val="60000"/>
                </a:schemeClr>
              </a:solidFill>
            </a:endParaRP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D6C0E3B9-AD38-3062-92BA-93FBC89260BC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108535" y="1070800"/>
          <a:ext cx="6245265" cy="55893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527840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791C4-9B3C-9538-F299-A006E1E9E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2408" y="1259310"/>
            <a:ext cx="9365380" cy="2014679"/>
          </a:xfrm>
        </p:spPr>
        <p:txBody>
          <a:bodyPr/>
          <a:lstStyle/>
          <a:p>
            <a:r>
              <a:rPr lang="en-US" b="0">
                <a:latin typeface="DM Sans"/>
                <a:ea typeface="Lato Medium"/>
                <a:cs typeface="Prompt"/>
              </a:rPr>
              <a:t>ESSI Aims and Measures</a:t>
            </a:r>
          </a:p>
        </p:txBody>
      </p:sp>
    </p:spTree>
    <p:extLst>
      <p:ext uri="{BB962C8B-B14F-4D97-AF65-F5344CB8AC3E}">
        <p14:creationId xmlns:p14="http://schemas.microsoft.com/office/powerpoint/2010/main" val="33946701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5861D58-2345-8140-2120-DC1F272BBFF2}"/>
              </a:ext>
            </a:extLst>
          </p:cNvPr>
          <p:cNvSpPr/>
          <p:nvPr/>
        </p:nvSpPr>
        <p:spPr>
          <a:xfrm>
            <a:off x="7048499" y="0"/>
            <a:ext cx="5143500" cy="1841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668FC7-57F5-1E3A-49A6-53E69C2CA8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25387" y="6377437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dirty="0" smtClean="0"/>
              <a:pPr/>
              <a:t>1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D55EC6-512E-CD50-1A08-34BC71A40E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7182B8-D745-6D49-E823-6B4C357520B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1628790" y="-189057"/>
            <a:ext cx="9531829" cy="1334873"/>
          </a:xfrm>
        </p:spPr>
        <p:txBody>
          <a:bodyPr/>
          <a:lstStyle/>
          <a:p>
            <a:pPr algn="ctr"/>
            <a:r>
              <a:rPr lang="en-US" sz="4800">
                <a:ea typeface="Lato Medium"/>
                <a:cs typeface="Lato Medium"/>
              </a:rPr>
              <a:t>ESSI Initiative Aims</a:t>
            </a:r>
            <a:endParaRPr lang="en-US" sz="4800"/>
          </a:p>
        </p:txBody>
      </p:sp>
      <p:grpSp>
        <p:nvGrpSpPr>
          <p:cNvPr id="12" name="Group 3">
            <a:extLst>
              <a:ext uri="{FF2B5EF4-FFF2-40B4-BE49-F238E27FC236}">
                <a16:creationId xmlns:a16="http://schemas.microsoft.com/office/drawing/2014/main" id="{A28016B6-6D80-89E3-91AF-D930E421AD61}"/>
              </a:ext>
            </a:extLst>
          </p:cNvPr>
          <p:cNvGrpSpPr/>
          <p:nvPr/>
        </p:nvGrpSpPr>
        <p:grpSpPr>
          <a:xfrm>
            <a:off x="608847" y="787285"/>
            <a:ext cx="11250165" cy="1346928"/>
            <a:chOff x="0" y="-57150"/>
            <a:chExt cx="2879117" cy="697690"/>
          </a:xfrm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966BE466-0331-E647-C2F5-1581C924B039}"/>
                </a:ext>
              </a:extLst>
            </p:cNvPr>
            <p:cNvSpPr/>
            <p:nvPr/>
          </p:nvSpPr>
          <p:spPr>
            <a:xfrm>
              <a:off x="0" y="0"/>
              <a:ext cx="2879117" cy="640540"/>
            </a:xfrm>
            <a:custGeom>
              <a:avLst/>
              <a:gdLst/>
              <a:ahLst/>
              <a:cxnLst/>
              <a:rect l="l" t="t" r="r" b="b"/>
              <a:pathLst>
                <a:path w="2879117" h="640540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604421"/>
                  </a:lnTo>
                  <a:cubicBezTo>
                    <a:pt x="2879117" y="614001"/>
                    <a:pt x="2875312" y="623188"/>
                    <a:pt x="2868538" y="629961"/>
                  </a:cubicBezTo>
                  <a:cubicBezTo>
                    <a:pt x="2861764" y="636735"/>
                    <a:pt x="2852578" y="640540"/>
                    <a:pt x="2842998" y="640540"/>
                  </a:cubicBezTo>
                  <a:lnTo>
                    <a:pt x="36119" y="640540"/>
                  </a:lnTo>
                  <a:cubicBezTo>
                    <a:pt x="26539" y="640540"/>
                    <a:pt x="17353" y="636735"/>
                    <a:pt x="10579" y="629961"/>
                  </a:cubicBezTo>
                  <a:cubicBezTo>
                    <a:pt x="3805" y="623188"/>
                    <a:pt x="0" y="614001"/>
                    <a:pt x="0" y="604421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6B95FD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B604E516-649C-1FD9-2519-CEA85AA2096B}"/>
                </a:ext>
              </a:extLst>
            </p:cNvPr>
            <p:cNvSpPr txBox="1"/>
            <p:nvPr/>
          </p:nvSpPr>
          <p:spPr>
            <a:xfrm>
              <a:off x="0" y="-57150"/>
              <a:ext cx="2879117" cy="69769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16" name="Group 6">
            <a:extLst>
              <a:ext uri="{FF2B5EF4-FFF2-40B4-BE49-F238E27FC236}">
                <a16:creationId xmlns:a16="http://schemas.microsoft.com/office/drawing/2014/main" id="{80963B6F-3E16-814E-7593-2BE3F5176BAA}"/>
              </a:ext>
            </a:extLst>
          </p:cNvPr>
          <p:cNvGrpSpPr/>
          <p:nvPr/>
        </p:nvGrpSpPr>
        <p:grpSpPr>
          <a:xfrm>
            <a:off x="608847" y="2215964"/>
            <a:ext cx="11288265" cy="1272328"/>
            <a:chOff x="0" y="-57150"/>
            <a:chExt cx="2879117" cy="547803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A080C1E4-8D81-DC7D-733F-543A19CACC97}"/>
                </a:ext>
              </a:extLst>
            </p:cNvPr>
            <p:cNvSpPr/>
            <p:nvPr/>
          </p:nvSpPr>
          <p:spPr>
            <a:xfrm>
              <a:off x="0" y="0"/>
              <a:ext cx="2879117" cy="490653"/>
            </a:xfrm>
            <a:custGeom>
              <a:avLst/>
              <a:gdLst/>
              <a:ahLst/>
              <a:cxnLst/>
              <a:rect l="l" t="t" r="r" b="b"/>
              <a:pathLst>
                <a:path w="2879117" h="490653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454535"/>
                  </a:lnTo>
                  <a:cubicBezTo>
                    <a:pt x="2879117" y="464114"/>
                    <a:pt x="2875312" y="473301"/>
                    <a:pt x="2868538" y="480074"/>
                  </a:cubicBezTo>
                  <a:cubicBezTo>
                    <a:pt x="2861764" y="486848"/>
                    <a:pt x="2852578" y="490653"/>
                    <a:pt x="2842998" y="490653"/>
                  </a:cubicBezTo>
                  <a:lnTo>
                    <a:pt x="36119" y="490653"/>
                  </a:lnTo>
                  <a:cubicBezTo>
                    <a:pt x="26539" y="490653"/>
                    <a:pt x="17353" y="486848"/>
                    <a:pt x="10579" y="480074"/>
                  </a:cubicBezTo>
                  <a:cubicBezTo>
                    <a:pt x="3805" y="473301"/>
                    <a:pt x="0" y="464114"/>
                    <a:pt x="0" y="454535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1C498B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TextBox 8">
              <a:extLst>
                <a:ext uri="{FF2B5EF4-FFF2-40B4-BE49-F238E27FC236}">
                  <a16:creationId xmlns:a16="http://schemas.microsoft.com/office/drawing/2014/main" id="{41866C53-10BB-5C7A-FBB8-8B559FBF4543}"/>
                </a:ext>
              </a:extLst>
            </p:cNvPr>
            <p:cNvSpPr txBox="1"/>
            <p:nvPr/>
          </p:nvSpPr>
          <p:spPr>
            <a:xfrm>
              <a:off x="0" y="-57150"/>
              <a:ext cx="2879117" cy="547803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20" name="Group 9">
            <a:extLst>
              <a:ext uri="{FF2B5EF4-FFF2-40B4-BE49-F238E27FC236}">
                <a16:creationId xmlns:a16="http://schemas.microsoft.com/office/drawing/2014/main" id="{57B897C2-5645-67EB-E870-DDA8EEAA309C}"/>
              </a:ext>
            </a:extLst>
          </p:cNvPr>
          <p:cNvGrpSpPr/>
          <p:nvPr/>
        </p:nvGrpSpPr>
        <p:grpSpPr>
          <a:xfrm>
            <a:off x="91329" y="1152079"/>
            <a:ext cx="812800" cy="825500"/>
            <a:chOff x="0" y="0"/>
            <a:chExt cx="812800" cy="812800"/>
          </a:xfrm>
        </p:grpSpPr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C87BADC8-1879-2359-C52E-E819876B32FA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TextBox 11">
              <a:extLst>
                <a:ext uri="{FF2B5EF4-FFF2-40B4-BE49-F238E27FC236}">
                  <a16:creationId xmlns:a16="http://schemas.microsoft.com/office/drawing/2014/main" id="{AF32047E-EB6B-BD4B-76DD-7D47B980544C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26" name="TextBox 15">
            <a:extLst>
              <a:ext uri="{FF2B5EF4-FFF2-40B4-BE49-F238E27FC236}">
                <a16:creationId xmlns:a16="http://schemas.microsoft.com/office/drawing/2014/main" id="{E9780070-BCB0-A4DC-93F5-6A72106D04EE}"/>
              </a:ext>
            </a:extLst>
          </p:cNvPr>
          <p:cNvSpPr txBox="1"/>
          <p:nvPr/>
        </p:nvSpPr>
        <p:spPr>
          <a:xfrm>
            <a:off x="992051" y="1158360"/>
            <a:ext cx="10796527" cy="9517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>
                <a:solidFill>
                  <a:srgbClr val="FFFFFF"/>
                </a:solidFill>
                <a:latin typeface="DM Sans"/>
              </a:rPr>
              <a:t>By December 2025, greater than 70% of Illinois birthing and children’s hospitals will address disparities and promote neonatal equity by actively participating in the ESSI initiative.​</a:t>
            </a:r>
          </a:p>
          <a:p>
            <a:pPr>
              <a:lnSpc>
                <a:spcPts val="2167"/>
              </a:lnSpc>
            </a:pPr>
            <a:endParaRPr lang="en-US" sz="2000">
              <a:solidFill>
                <a:srgbClr val="FFFFFF"/>
              </a:solidFill>
              <a:latin typeface="DM Sans"/>
            </a:endParaRPr>
          </a:p>
        </p:txBody>
      </p:sp>
      <p:sp>
        <p:nvSpPr>
          <p:cNvPr id="28" name="TextBox 16">
            <a:extLst>
              <a:ext uri="{FF2B5EF4-FFF2-40B4-BE49-F238E27FC236}">
                <a16:creationId xmlns:a16="http://schemas.microsoft.com/office/drawing/2014/main" id="{8C1D734D-3C73-E6F6-D1A8-CF64A5F8112D}"/>
              </a:ext>
            </a:extLst>
          </p:cNvPr>
          <p:cNvSpPr txBox="1"/>
          <p:nvPr/>
        </p:nvSpPr>
        <p:spPr>
          <a:xfrm>
            <a:off x="1111307" y="2549809"/>
            <a:ext cx="10558015" cy="6567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>
                <a:solidFill>
                  <a:srgbClr val="FFFFFF"/>
                </a:solidFill>
                <a:latin typeface="DM Sans"/>
              </a:rPr>
              <a:t>By December 2025, greater than 80% of infants will be discharged from ILPQC hospitals with a completed ESSI Bundle.</a:t>
            </a:r>
          </a:p>
        </p:txBody>
      </p:sp>
      <p:sp>
        <p:nvSpPr>
          <p:cNvPr id="30" name="Freeform 17">
            <a:extLst>
              <a:ext uri="{FF2B5EF4-FFF2-40B4-BE49-F238E27FC236}">
                <a16:creationId xmlns:a16="http://schemas.microsoft.com/office/drawing/2014/main" id="{807B8E33-7EFF-7586-9B2A-EEB15CC8C381}"/>
              </a:ext>
            </a:extLst>
          </p:cNvPr>
          <p:cNvSpPr/>
          <p:nvPr/>
        </p:nvSpPr>
        <p:spPr>
          <a:xfrm>
            <a:off x="886026" y="4618936"/>
            <a:ext cx="3150228" cy="608867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80"/>
                </a:lnTo>
                <a:lnTo>
                  <a:pt x="0" y="78078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2" name="TextBox 18">
            <a:extLst>
              <a:ext uri="{FF2B5EF4-FFF2-40B4-BE49-F238E27FC236}">
                <a16:creationId xmlns:a16="http://schemas.microsoft.com/office/drawing/2014/main" id="{A29085F2-BEE6-99AF-40AD-620EFEAA68F9}"/>
              </a:ext>
            </a:extLst>
          </p:cNvPr>
          <p:cNvSpPr txBox="1"/>
          <p:nvPr/>
        </p:nvSpPr>
        <p:spPr>
          <a:xfrm>
            <a:off x="1387344" y="4808167"/>
            <a:ext cx="2028316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READINESS</a:t>
            </a:r>
          </a:p>
        </p:txBody>
      </p:sp>
      <p:sp>
        <p:nvSpPr>
          <p:cNvPr id="34" name="Freeform 19">
            <a:extLst>
              <a:ext uri="{FF2B5EF4-FFF2-40B4-BE49-F238E27FC236}">
                <a16:creationId xmlns:a16="http://schemas.microsoft.com/office/drawing/2014/main" id="{27AAACD0-2AD9-0861-FD85-F167BEEF8D8C}"/>
              </a:ext>
            </a:extLst>
          </p:cNvPr>
          <p:cNvSpPr/>
          <p:nvPr/>
        </p:nvSpPr>
        <p:spPr>
          <a:xfrm>
            <a:off x="893425" y="5385726"/>
            <a:ext cx="3150228" cy="627629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79"/>
                </a:lnTo>
                <a:lnTo>
                  <a:pt x="0" y="780779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6" name="TextBox 20">
            <a:extLst>
              <a:ext uri="{FF2B5EF4-FFF2-40B4-BE49-F238E27FC236}">
                <a16:creationId xmlns:a16="http://schemas.microsoft.com/office/drawing/2014/main" id="{73602F57-63E5-AD2C-8F35-EEE5A55C03B9}"/>
              </a:ext>
            </a:extLst>
          </p:cNvPr>
          <p:cNvSpPr txBox="1"/>
          <p:nvPr/>
        </p:nvSpPr>
        <p:spPr>
          <a:xfrm>
            <a:off x="836786" y="5577580"/>
            <a:ext cx="3206735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TRANSFER OF CARE</a:t>
            </a:r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B9969608-898E-6FC6-1F08-56733F2AA44B}"/>
              </a:ext>
            </a:extLst>
          </p:cNvPr>
          <p:cNvSpPr/>
          <p:nvPr/>
        </p:nvSpPr>
        <p:spPr>
          <a:xfrm>
            <a:off x="888227" y="3819390"/>
            <a:ext cx="3148028" cy="608493"/>
          </a:xfrm>
          <a:custGeom>
            <a:avLst/>
            <a:gdLst/>
            <a:ahLst/>
            <a:cxnLst/>
            <a:rect l="l" t="t" r="r" b="b"/>
            <a:pathLst>
              <a:path w="4589522" h="780219">
                <a:moveTo>
                  <a:pt x="0" y="0"/>
                </a:moveTo>
                <a:lnTo>
                  <a:pt x="4589521" y="0"/>
                </a:lnTo>
                <a:lnTo>
                  <a:pt x="4589521" y="780218"/>
                </a:lnTo>
                <a:lnTo>
                  <a:pt x="0" y="780218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0" name="TextBox 22">
            <a:extLst>
              <a:ext uri="{FF2B5EF4-FFF2-40B4-BE49-F238E27FC236}">
                <a16:creationId xmlns:a16="http://schemas.microsoft.com/office/drawing/2014/main" id="{9869AD74-D8A3-0B44-10F4-685B412FCB24}"/>
              </a:ext>
            </a:extLst>
          </p:cNvPr>
          <p:cNvSpPr txBox="1"/>
          <p:nvPr/>
        </p:nvSpPr>
        <p:spPr>
          <a:xfrm>
            <a:off x="298855" y="947398"/>
            <a:ext cx="410448" cy="10348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Canva Sans 2 Bold"/>
              </a:rPr>
              <a:t>1</a:t>
            </a:r>
          </a:p>
        </p:txBody>
      </p:sp>
      <p:sp>
        <p:nvSpPr>
          <p:cNvPr id="44" name="TextBox 24">
            <a:extLst>
              <a:ext uri="{FF2B5EF4-FFF2-40B4-BE49-F238E27FC236}">
                <a16:creationId xmlns:a16="http://schemas.microsoft.com/office/drawing/2014/main" id="{E3D868BB-9056-5F85-37FB-DC17C2377580}"/>
              </a:ext>
            </a:extLst>
          </p:cNvPr>
          <p:cNvSpPr txBox="1"/>
          <p:nvPr/>
        </p:nvSpPr>
        <p:spPr>
          <a:xfrm>
            <a:off x="1488052" y="4008485"/>
            <a:ext cx="1951014" cy="3112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AWARENESS</a:t>
            </a:r>
          </a:p>
        </p:txBody>
      </p:sp>
      <p:sp>
        <p:nvSpPr>
          <p:cNvPr id="46" name="TextBox 25">
            <a:extLst>
              <a:ext uri="{FF2B5EF4-FFF2-40B4-BE49-F238E27FC236}">
                <a16:creationId xmlns:a16="http://schemas.microsoft.com/office/drawing/2014/main" id="{1072F846-48B0-2F56-6528-205809296213}"/>
              </a:ext>
            </a:extLst>
          </p:cNvPr>
          <p:cNvSpPr txBox="1"/>
          <p:nvPr/>
        </p:nvSpPr>
        <p:spPr>
          <a:xfrm>
            <a:off x="4312052" y="3863840"/>
            <a:ext cx="7763339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DM Sans"/>
                <a:ea typeface="Calibri"/>
                <a:cs typeface="Calibri"/>
              </a:rPr>
              <a:t>Parents or caregivers report an understanding of a safe sleep environment.</a:t>
            </a:r>
          </a:p>
        </p:txBody>
      </p:sp>
      <p:sp>
        <p:nvSpPr>
          <p:cNvPr id="48" name="TextBox 26">
            <a:extLst>
              <a:ext uri="{FF2B5EF4-FFF2-40B4-BE49-F238E27FC236}">
                <a16:creationId xmlns:a16="http://schemas.microsoft.com/office/drawing/2014/main" id="{9DA002CE-213B-0EFE-03DC-C3DB65BCF003}"/>
              </a:ext>
            </a:extLst>
          </p:cNvPr>
          <p:cNvSpPr txBox="1"/>
          <p:nvPr/>
        </p:nvSpPr>
        <p:spPr>
          <a:xfrm>
            <a:off x="4311686" y="4691360"/>
            <a:ext cx="7409744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DM Sans"/>
                <a:ea typeface="+mn-lt"/>
                <a:cs typeface="+mn-lt"/>
              </a:rPr>
              <a:t>Family is prepared for a transition to home, including </a:t>
            </a:r>
            <a:r>
              <a:rPr lang="en-US" sz="2200" err="1">
                <a:solidFill>
                  <a:srgbClr val="000000"/>
                </a:solidFill>
                <a:latin typeface="DM Sans"/>
                <a:ea typeface="+mn-lt"/>
                <a:cs typeface="+mn-lt"/>
              </a:rPr>
              <a:t>SDoH</a:t>
            </a:r>
            <a:r>
              <a:rPr lang="en-US" sz="2200">
                <a:solidFill>
                  <a:srgbClr val="000000"/>
                </a:solidFill>
                <a:latin typeface="DM Sans"/>
                <a:ea typeface="+mn-lt"/>
                <a:cs typeface="+mn-lt"/>
              </a:rPr>
              <a:t> screening and resource linkage.</a:t>
            </a:r>
            <a:endParaRPr lang="en-US" sz="2200">
              <a:solidFill>
                <a:srgbClr val="000000"/>
              </a:solidFill>
              <a:latin typeface="DM Sans"/>
            </a:endParaRPr>
          </a:p>
        </p:txBody>
      </p:sp>
      <p:sp>
        <p:nvSpPr>
          <p:cNvPr id="50" name="TextBox 27">
            <a:extLst>
              <a:ext uri="{FF2B5EF4-FFF2-40B4-BE49-F238E27FC236}">
                <a16:creationId xmlns:a16="http://schemas.microsoft.com/office/drawing/2014/main" id="{484FA518-5005-04AD-A148-23B555389D18}"/>
              </a:ext>
            </a:extLst>
          </p:cNvPr>
          <p:cNvSpPr txBox="1"/>
          <p:nvPr/>
        </p:nvSpPr>
        <p:spPr>
          <a:xfrm>
            <a:off x="4314936" y="5564972"/>
            <a:ext cx="7457964" cy="2921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DM Sans"/>
                <a:ea typeface="Calibri"/>
                <a:cs typeface="Calibri"/>
              </a:rPr>
              <a:t>Communication to primary care provider completed.</a:t>
            </a:r>
            <a:endParaRPr lang="en-US" sz="2200">
              <a:latin typeface="DM Sans"/>
              <a:cs typeface="Calibri"/>
            </a:endParaRPr>
          </a:p>
        </p:txBody>
      </p:sp>
      <p:grpSp>
        <p:nvGrpSpPr>
          <p:cNvPr id="7" name="Group 9">
            <a:extLst>
              <a:ext uri="{FF2B5EF4-FFF2-40B4-BE49-F238E27FC236}">
                <a16:creationId xmlns:a16="http://schemas.microsoft.com/office/drawing/2014/main" id="{59DCCF77-1BDF-BB49-8752-58A43F365FAC}"/>
              </a:ext>
            </a:extLst>
          </p:cNvPr>
          <p:cNvGrpSpPr/>
          <p:nvPr/>
        </p:nvGrpSpPr>
        <p:grpSpPr>
          <a:xfrm>
            <a:off x="91329" y="2498278"/>
            <a:ext cx="812800" cy="825500"/>
            <a:chOff x="0" y="0"/>
            <a:chExt cx="812800" cy="812800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E15AE669-9885-B6BE-D637-60B38E0F95F5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TextBox 11">
              <a:extLst>
                <a:ext uri="{FF2B5EF4-FFF2-40B4-BE49-F238E27FC236}">
                  <a16:creationId xmlns:a16="http://schemas.microsoft.com/office/drawing/2014/main" id="{2EC913AF-9BAA-D267-4DAB-C2EAAC071B91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42" name="TextBox 23">
            <a:extLst>
              <a:ext uri="{FF2B5EF4-FFF2-40B4-BE49-F238E27FC236}">
                <a16:creationId xmlns:a16="http://schemas.microsoft.com/office/drawing/2014/main" id="{FB430A34-582F-067B-AEF5-DB4764FC6C5A}"/>
              </a:ext>
            </a:extLst>
          </p:cNvPr>
          <p:cNvSpPr txBox="1"/>
          <p:nvPr/>
        </p:nvSpPr>
        <p:spPr>
          <a:xfrm>
            <a:off x="290166" y="2295809"/>
            <a:ext cx="434023" cy="10348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Canva Sans 2 Bold"/>
              </a:rPr>
              <a:t>2</a:t>
            </a:r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3BDDD164-0124-FE54-AD8E-88B343F5817D}"/>
              </a:ext>
            </a:extLst>
          </p:cNvPr>
          <p:cNvSpPr/>
          <p:nvPr/>
        </p:nvSpPr>
        <p:spPr>
          <a:xfrm>
            <a:off x="9566983" y="166209"/>
            <a:ext cx="1520914" cy="655191"/>
          </a:xfrm>
          <a:custGeom>
            <a:avLst/>
            <a:gdLst/>
            <a:ahLst/>
            <a:cxnLst/>
            <a:rect l="l" t="t" r="r" b="b"/>
            <a:pathLst>
              <a:path w="2281371" h="982786">
                <a:moveTo>
                  <a:pt x="0" y="0"/>
                </a:moveTo>
                <a:lnTo>
                  <a:pt x="2281372" y="0"/>
                </a:lnTo>
                <a:lnTo>
                  <a:pt x="2281372" y="982786"/>
                </a:lnTo>
                <a:lnTo>
                  <a:pt x="0" y="982786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7560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845693" y="484263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1845693" y="1550509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8"/>
                </a:lnTo>
                <a:lnTo>
                  <a:pt x="0" y="1027868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>
            <a:off x="1845693" y="2616754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1845693" y="3719974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" name="Freeform 6"/>
          <p:cNvSpPr/>
          <p:nvPr/>
        </p:nvSpPr>
        <p:spPr>
          <a:xfrm>
            <a:off x="1845693" y="4786220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" name="Freeform 7"/>
          <p:cNvSpPr/>
          <p:nvPr/>
        </p:nvSpPr>
        <p:spPr>
          <a:xfrm>
            <a:off x="4269331" y="1475298"/>
            <a:ext cx="1176995" cy="835667"/>
          </a:xfrm>
          <a:custGeom>
            <a:avLst/>
            <a:gdLst/>
            <a:ahLst/>
            <a:cxnLst/>
            <a:rect l="l" t="t" r="r" b="b"/>
            <a:pathLst>
              <a:path w="1765493" h="1253500">
                <a:moveTo>
                  <a:pt x="0" y="0"/>
                </a:moveTo>
                <a:lnTo>
                  <a:pt x="1765493" y="0"/>
                </a:lnTo>
                <a:lnTo>
                  <a:pt x="1765493" y="1253500"/>
                </a:lnTo>
                <a:lnTo>
                  <a:pt x="0" y="1253500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8" name="Freeform 8"/>
          <p:cNvSpPr/>
          <p:nvPr/>
        </p:nvSpPr>
        <p:spPr>
          <a:xfrm>
            <a:off x="4435542" y="337989"/>
            <a:ext cx="844571" cy="977795"/>
          </a:xfrm>
          <a:custGeom>
            <a:avLst/>
            <a:gdLst/>
            <a:ahLst/>
            <a:cxnLst/>
            <a:rect l="l" t="t" r="r" b="b"/>
            <a:pathLst>
              <a:path w="1266856" h="1466693">
                <a:moveTo>
                  <a:pt x="0" y="0"/>
                </a:moveTo>
                <a:lnTo>
                  <a:pt x="1266857" y="0"/>
                </a:lnTo>
                <a:lnTo>
                  <a:pt x="1266857" y="1466693"/>
                </a:lnTo>
                <a:lnTo>
                  <a:pt x="0" y="1466693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9" name="Freeform 9"/>
          <p:cNvSpPr/>
          <p:nvPr/>
        </p:nvSpPr>
        <p:spPr>
          <a:xfrm>
            <a:off x="4359071" y="2554817"/>
            <a:ext cx="997512" cy="874183"/>
          </a:xfrm>
          <a:custGeom>
            <a:avLst/>
            <a:gdLst/>
            <a:ahLst/>
            <a:cxnLst/>
            <a:rect l="l" t="t" r="r" b="b"/>
            <a:pathLst>
              <a:path w="1496268" h="1311275">
                <a:moveTo>
                  <a:pt x="0" y="0"/>
                </a:moveTo>
                <a:lnTo>
                  <a:pt x="1496269" y="0"/>
                </a:lnTo>
                <a:lnTo>
                  <a:pt x="1496269" y="1311275"/>
                </a:lnTo>
                <a:lnTo>
                  <a:pt x="0" y="1311275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0" name="Freeform 10"/>
          <p:cNvSpPr/>
          <p:nvPr/>
        </p:nvSpPr>
        <p:spPr>
          <a:xfrm>
            <a:off x="4335393" y="3532928"/>
            <a:ext cx="1021191" cy="1080626"/>
          </a:xfrm>
          <a:custGeom>
            <a:avLst/>
            <a:gdLst/>
            <a:ahLst/>
            <a:cxnLst/>
            <a:rect l="l" t="t" r="r" b="b"/>
            <a:pathLst>
              <a:path w="1531787" h="1620939">
                <a:moveTo>
                  <a:pt x="0" y="0"/>
                </a:moveTo>
                <a:lnTo>
                  <a:pt x="1531787" y="0"/>
                </a:lnTo>
                <a:lnTo>
                  <a:pt x="1531787" y="1620939"/>
                </a:lnTo>
                <a:lnTo>
                  <a:pt x="0" y="1620939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1" name="Freeform 11"/>
          <p:cNvSpPr/>
          <p:nvPr/>
        </p:nvSpPr>
        <p:spPr>
          <a:xfrm>
            <a:off x="4437945" y="4715153"/>
            <a:ext cx="1008380" cy="1016000"/>
          </a:xfrm>
          <a:custGeom>
            <a:avLst/>
            <a:gdLst/>
            <a:ahLst/>
            <a:cxnLst/>
            <a:rect l="l" t="t" r="r" b="b"/>
            <a:pathLst>
              <a:path w="1512570" h="1524000">
                <a:moveTo>
                  <a:pt x="0" y="0"/>
                </a:moveTo>
                <a:lnTo>
                  <a:pt x="1512570" y="0"/>
                </a:lnTo>
                <a:lnTo>
                  <a:pt x="1512570" y="1524000"/>
                </a:lnTo>
                <a:lnTo>
                  <a:pt x="0" y="1524000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2" name="TextBox 12"/>
          <p:cNvSpPr txBox="1"/>
          <p:nvPr/>
        </p:nvSpPr>
        <p:spPr>
          <a:xfrm>
            <a:off x="2074739" y="646616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1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2074739" y="1684639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2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2074739" y="2750885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3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6096000" y="711200"/>
            <a:ext cx="5573501" cy="337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  <a:cs typeface="Calibri"/>
              </a:rPr>
              <a:t>Healthcare Professional Commitment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6096000" y="1727818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00">
                <a:solidFill>
                  <a:srgbClr val="545454"/>
                </a:solidFill>
                <a:latin typeface="DM Sans"/>
                <a:cs typeface="Calibri"/>
              </a:rPr>
              <a:t>Inclusive Clinical Environment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6096000" y="2825179"/>
            <a:ext cx="5573501" cy="337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  <a:cs typeface="Calibri"/>
              </a:rPr>
              <a:t>Parents and Caregiver Empowerment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2074739" y="3854105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4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2074739" y="4957670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5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6096000" y="5000849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00">
                <a:solidFill>
                  <a:srgbClr val="545454"/>
                </a:solidFill>
                <a:latin typeface="DM Sans"/>
                <a:cs typeface="Calibri"/>
              </a:rPr>
              <a:t>Healthcare Data Utilization</a:t>
            </a:r>
          </a:p>
        </p:txBody>
      </p:sp>
      <p:sp>
        <p:nvSpPr>
          <p:cNvPr id="21" name="TextBox 21"/>
          <p:cNvSpPr txBox="1"/>
          <p:nvPr/>
        </p:nvSpPr>
        <p:spPr>
          <a:xfrm>
            <a:off x="6096000" y="3903413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00">
                <a:solidFill>
                  <a:srgbClr val="545454"/>
                </a:solidFill>
                <a:latin typeface="DM Sans"/>
                <a:cs typeface="Calibri"/>
              </a:rPr>
              <a:t>Community Partnerships</a:t>
            </a:r>
          </a:p>
        </p:txBody>
      </p:sp>
      <p:sp>
        <p:nvSpPr>
          <p:cNvPr id="23" name="Rounded Rectangle 6">
            <a:extLst>
              <a:ext uri="{FF2B5EF4-FFF2-40B4-BE49-F238E27FC236}">
                <a16:creationId xmlns:a16="http://schemas.microsoft.com/office/drawing/2014/main" id="{78B5A3B7-0107-74A6-42BE-EFADF14BEC3D}"/>
              </a:ext>
            </a:extLst>
          </p:cNvPr>
          <p:cNvSpPr/>
          <p:nvPr/>
        </p:nvSpPr>
        <p:spPr>
          <a:xfrm>
            <a:off x="1546973" y="230077"/>
            <a:ext cx="10059729" cy="1157652"/>
          </a:xfrm>
          <a:prstGeom prst="roundRect">
            <a:avLst/>
          </a:prstGeom>
          <a:noFill/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endParaRPr lang="en-US" sz="1500">
              <a:ea typeface="Calibri"/>
              <a:cs typeface="Calibri"/>
            </a:endParaRPr>
          </a:p>
        </p:txBody>
      </p:sp>
      <p:pic>
        <p:nvPicPr>
          <p:cNvPr id="24" name="Picture 23" descr="A logo with a person in the middle&#10;&#10;Description automatically generated">
            <a:extLst>
              <a:ext uri="{FF2B5EF4-FFF2-40B4-BE49-F238E27FC236}">
                <a16:creationId xmlns:a16="http://schemas.microsoft.com/office/drawing/2014/main" id="{BB2CB55F-0790-7175-FF6E-777FF2A900CC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8023" y="5872540"/>
            <a:ext cx="1889972" cy="886710"/>
          </a:xfrm>
          <a:prstGeom prst="rect">
            <a:avLst/>
          </a:prstGeom>
        </p:spPr>
      </p:pic>
      <p:sp>
        <p:nvSpPr>
          <p:cNvPr id="26" name="Freeform 23">
            <a:extLst>
              <a:ext uri="{FF2B5EF4-FFF2-40B4-BE49-F238E27FC236}">
                <a16:creationId xmlns:a16="http://schemas.microsoft.com/office/drawing/2014/main" id="{AE550962-E289-5DDA-2AB0-8CBF44084B7E}"/>
              </a:ext>
            </a:extLst>
          </p:cNvPr>
          <p:cNvSpPr/>
          <p:nvPr/>
        </p:nvSpPr>
        <p:spPr>
          <a:xfrm flipV="1">
            <a:off x="11688331" y="2293443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3639618"/>
                </a:moveTo>
                <a:lnTo>
                  <a:pt x="1674224" y="3639618"/>
                </a:lnTo>
                <a:lnTo>
                  <a:pt x="1674224" y="0"/>
                </a:lnTo>
                <a:lnTo>
                  <a:pt x="0" y="0"/>
                </a:lnTo>
                <a:lnTo>
                  <a:pt x="0" y="3639618"/>
                </a:lnTo>
                <a:close/>
              </a:path>
            </a:pathLst>
          </a:custGeom>
          <a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9" name="Footer Placeholder 4">
            <a:extLst>
              <a:ext uri="{FF2B5EF4-FFF2-40B4-BE49-F238E27FC236}">
                <a16:creationId xmlns:a16="http://schemas.microsoft.com/office/drawing/2014/main" id="{F497B51E-B23E-81E6-6EEC-C84EF82FCD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546836" y="6487803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12</a:t>
            </a:r>
          </a:p>
        </p:txBody>
      </p: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50A25492-F368-5A21-5DC6-845AD3571FD6}"/>
              </a:ext>
            </a:extLst>
          </p:cNvPr>
          <p:cNvSpPr txBox="1">
            <a:spLocks/>
          </p:cNvSpPr>
          <p:nvPr/>
        </p:nvSpPr>
        <p:spPr>
          <a:xfrm>
            <a:off x="4995333" y="65440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418135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AA70D-3B97-AAF4-599A-5BEF539C23C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844675"/>
            <a:ext cx="2805113" cy="1347788"/>
          </a:xfrm>
        </p:spPr>
        <p:txBody>
          <a:bodyPr/>
          <a:lstStyle/>
          <a:p>
            <a:pPr algn="ctr"/>
            <a:r>
              <a:rPr lang="en-US" sz="4000">
                <a:latin typeface="DM Sans"/>
                <a:ea typeface="Lato Medium"/>
                <a:cs typeface="Lato Medium"/>
              </a:rPr>
              <a:t>Key Driver Diagram</a:t>
            </a:r>
            <a:endParaRPr lang="en-US" sz="4000">
              <a:latin typeface="DM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148D1D-0EE2-FC94-7AFE-82D9E9F0BFF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042025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dirty="0" smtClean="0"/>
              <a:pPr/>
              <a:t>1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74FBFB-1843-9ED4-705E-449C6A1AC84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405563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</a:rPr>
              <a:t>Illinois Perinatal Quality Collaborativ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08BEB2-2B67-CEC7-F7A5-CA6255803980}"/>
              </a:ext>
            </a:extLst>
          </p:cNvPr>
          <p:cNvSpPr/>
          <p:nvPr/>
        </p:nvSpPr>
        <p:spPr>
          <a:xfrm>
            <a:off x="2857500" y="5654009"/>
            <a:ext cx="9144000" cy="8902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6">
            <a:extLst>
              <a:ext uri="{FF2B5EF4-FFF2-40B4-BE49-F238E27FC236}">
                <a16:creationId xmlns:a16="http://schemas.microsoft.com/office/drawing/2014/main" id="{EB9283BE-051A-06BD-CAA6-184C9D686C2F}"/>
              </a:ext>
            </a:extLst>
          </p:cNvPr>
          <p:cNvSpPr/>
          <p:nvPr/>
        </p:nvSpPr>
        <p:spPr>
          <a:xfrm>
            <a:off x="2804105" y="646630"/>
            <a:ext cx="1922145" cy="476250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r>
              <a:rPr lang="en-US" sz="1500">
                <a:latin typeface="Calibri"/>
                <a:cs typeface="Calibri"/>
              </a:rPr>
              <a:t>By December 2025: </a:t>
            </a:r>
            <a:endParaRPr lang="en-US" sz="1500">
              <a:latin typeface="Calibri"/>
              <a:ea typeface="Calibri"/>
              <a:cs typeface="Calibri"/>
            </a:endParaRPr>
          </a:p>
          <a:p>
            <a:endParaRPr lang="en-US" sz="1500">
              <a:latin typeface="Calibri"/>
              <a:ea typeface="Calibri"/>
              <a:cs typeface="Calibri"/>
            </a:endParaRPr>
          </a:p>
          <a:p>
            <a:r>
              <a:rPr lang="en-US" sz="1500">
                <a:latin typeface="Calibri"/>
                <a:cs typeface="Calibri"/>
              </a:rPr>
              <a:t>1. Greater than 70% of Illinois birthing and children’s hospitals will address disparities and promote neonatal equity by actively participating in the ESSI initiative.</a:t>
            </a:r>
            <a:endParaRPr lang="en-US" sz="1500">
              <a:latin typeface="Calibri"/>
              <a:ea typeface="Calibri"/>
              <a:cs typeface="Calibri"/>
            </a:endParaRPr>
          </a:p>
          <a:p>
            <a:pPr marL="342900" indent="-342900">
              <a:buAutoNum type="arabicParenR"/>
            </a:pPr>
            <a:endParaRPr lang="en-US" sz="1500">
              <a:latin typeface="Calibri"/>
              <a:ea typeface="Calibri"/>
              <a:cs typeface="Calibri"/>
            </a:endParaRPr>
          </a:p>
          <a:p>
            <a:r>
              <a:rPr lang="en-US" sz="1500">
                <a:latin typeface="Calibri"/>
                <a:cs typeface="Calibri"/>
              </a:rPr>
              <a:t>2. Greater than 80% of infants will be discharged from ILPQC hospitals with a completed ESSI bundle. </a:t>
            </a:r>
            <a:r>
              <a:rPr lang="en-US" sz="1500"/>
              <a:t> </a:t>
            </a:r>
            <a:endParaRPr lang="en-US" sz="1500">
              <a:ea typeface="Calibri"/>
              <a:cs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180EE81-4D08-B0DE-D216-FE8E15396519}"/>
              </a:ext>
            </a:extLst>
          </p:cNvPr>
          <p:cNvSpPr txBox="1"/>
          <p:nvPr/>
        </p:nvSpPr>
        <p:spPr>
          <a:xfrm>
            <a:off x="3247926" y="273053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Aims</a:t>
            </a:r>
            <a:endParaRPr lang="en-US" b="1">
              <a:solidFill>
                <a:schemeClr val="accent1"/>
              </a:solidFill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8A4033-3B68-E3F4-A3B5-A12C5ED59569}"/>
              </a:ext>
            </a:extLst>
          </p:cNvPr>
          <p:cNvSpPr txBox="1"/>
          <p:nvPr/>
        </p:nvSpPr>
        <p:spPr>
          <a:xfrm>
            <a:off x="4717812" y="276098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Primary Drivers</a:t>
            </a:r>
          </a:p>
        </p:txBody>
      </p:sp>
      <p:sp>
        <p:nvSpPr>
          <p:cNvPr id="18" name="Rounded Rectangle 22">
            <a:extLst>
              <a:ext uri="{FF2B5EF4-FFF2-40B4-BE49-F238E27FC236}">
                <a16:creationId xmlns:a16="http://schemas.microsoft.com/office/drawing/2014/main" id="{C3730C62-AFAC-21AA-3E7A-7AEAD34CE3BE}"/>
              </a:ext>
            </a:extLst>
          </p:cNvPr>
          <p:cNvSpPr/>
          <p:nvPr/>
        </p:nvSpPr>
        <p:spPr>
          <a:xfrm>
            <a:off x="4785239" y="800214"/>
            <a:ext cx="1661844" cy="69979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Healthcare Professional Commitment</a:t>
            </a:r>
          </a:p>
        </p:txBody>
      </p:sp>
      <p:sp>
        <p:nvSpPr>
          <p:cNvPr id="20" name="Rounded Rectangle 76">
            <a:extLst>
              <a:ext uri="{FF2B5EF4-FFF2-40B4-BE49-F238E27FC236}">
                <a16:creationId xmlns:a16="http://schemas.microsoft.com/office/drawing/2014/main" id="{B73A5A2B-E8B2-3A4D-6254-3A3DB1483B77}"/>
              </a:ext>
            </a:extLst>
          </p:cNvPr>
          <p:cNvSpPr/>
          <p:nvPr/>
        </p:nvSpPr>
        <p:spPr>
          <a:xfrm>
            <a:off x="4785172" y="1778930"/>
            <a:ext cx="16618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Inclusive Clinical Environment</a:t>
            </a:r>
          </a:p>
        </p:txBody>
      </p:sp>
      <p:sp>
        <p:nvSpPr>
          <p:cNvPr id="22" name="Rounded Rectangle 83">
            <a:extLst>
              <a:ext uri="{FF2B5EF4-FFF2-40B4-BE49-F238E27FC236}">
                <a16:creationId xmlns:a16="http://schemas.microsoft.com/office/drawing/2014/main" id="{DCD883C2-E6A5-6751-C6D1-3BC19BAEBB65}"/>
              </a:ext>
            </a:extLst>
          </p:cNvPr>
          <p:cNvSpPr/>
          <p:nvPr/>
        </p:nvSpPr>
        <p:spPr>
          <a:xfrm>
            <a:off x="4789674" y="2711059"/>
            <a:ext cx="1674544" cy="7929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Parent and Caregiver Empowerment</a:t>
            </a:r>
            <a:endParaRPr lang="en-US" sz="1600">
              <a:latin typeface="Calibri"/>
              <a:ea typeface="Calibri"/>
              <a:cs typeface="Calibri"/>
            </a:endParaRPr>
          </a:p>
        </p:txBody>
      </p:sp>
      <p:sp>
        <p:nvSpPr>
          <p:cNvPr id="24" name="Rounded Rectangle 84">
            <a:extLst>
              <a:ext uri="{FF2B5EF4-FFF2-40B4-BE49-F238E27FC236}">
                <a16:creationId xmlns:a16="http://schemas.microsoft.com/office/drawing/2014/main" id="{C9EDA1B8-B2B5-4AB7-BE28-FD2E702400CA}"/>
              </a:ext>
            </a:extLst>
          </p:cNvPr>
          <p:cNvSpPr/>
          <p:nvPr/>
        </p:nvSpPr>
        <p:spPr>
          <a:xfrm>
            <a:off x="4789268" y="3771300"/>
            <a:ext cx="1674544" cy="6814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Community </a:t>
            </a:r>
            <a:r>
              <a:rPr lang="en-US" sz="160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lang="en-US" sz="1600">
                <a:solidFill>
                  <a:schemeClr val="tx1"/>
                </a:solidFill>
                <a:latin typeface="Calibri"/>
                <a:cs typeface="Calibri"/>
              </a:rPr>
              <a:t>Partnerships</a:t>
            </a:r>
            <a:endParaRPr lang="en-US" sz="160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26" name="Rounded Rectangle 85">
            <a:extLst>
              <a:ext uri="{FF2B5EF4-FFF2-40B4-BE49-F238E27FC236}">
                <a16:creationId xmlns:a16="http://schemas.microsoft.com/office/drawing/2014/main" id="{78A60644-0FDA-E9A5-A8A9-AB39830E7D17}"/>
              </a:ext>
            </a:extLst>
          </p:cNvPr>
          <p:cNvSpPr/>
          <p:nvPr/>
        </p:nvSpPr>
        <p:spPr>
          <a:xfrm>
            <a:off x="4795447" y="4698068"/>
            <a:ext cx="16872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Healthcare Data Utilization</a:t>
            </a:r>
          </a:p>
        </p:txBody>
      </p:sp>
      <p:sp>
        <p:nvSpPr>
          <p:cNvPr id="28" name="Rounded Rectangle 87">
            <a:extLst>
              <a:ext uri="{FF2B5EF4-FFF2-40B4-BE49-F238E27FC236}">
                <a16:creationId xmlns:a16="http://schemas.microsoft.com/office/drawing/2014/main" id="{4DD97BA5-B3EA-9953-A828-AC4406353BE4}"/>
              </a:ext>
            </a:extLst>
          </p:cNvPr>
          <p:cNvSpPr/>
          <p:nvPr/>
        </p:nvSpPr>
        <p:spPr>
          <a:xfrm>
            <a:off x="6543427" y="858378"/>
            <a:ext cx="5529655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Equitable and Respectful Care Education and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Safe Sleep Environment Education and Implement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6297887-83BD-82E8-1C79-F8E9E0836828}"/>
              </a:ext>
            </a:extLst>
          </p:cNvPr>
          <p:cNvSpPr txBox="1"/>
          <p:nvPr/>
        </p:nvSpPr>
        <p:spPr>
          <a:xfrm>
            <a:off x="7972721" y="274352"/>
            <a:ext cx="266752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Secondary Drivers</a:t>
            </a:r>
          </a:p>
        </p:txBody>
      </p:sp>
      <p:sp>
        <p:nvSpPr>
          <p:cNvPr id="32" name="Rounded Rectangle 89">
            <a:extLst>
              <a:ext uri="{FF2B5EF4-FFF2-40B4-BE49-F238E27FC236}">
                <a16:creationId xmlns:a16="http://schemas.microsoft.com/office/drawing/2014/main" id="{8449D5CB-7C16-EDDA-3100-9116410AABE0}"/>
              </a:ext>
            </a:extLst>
          </p:cNvPr>
          <p:cNvSpPr/>
          <p:nvPr/>
        </p:nvSpPr>
        <p:spPr>
          <a:xfrm>
            <a:off x="6602417" y="1710625"/>
            <a:ext cx="5480760" cy="73908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Organizational Leadership Commi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Equitable and Inclusive Unit Poli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Parent and Caregiver Experience Prioritization</a:t>
            </a:r>
            <a:endParaRPr lang="en-US" sz="1400" err="1">
              <a:latin typeface="Calibri"/>
              <a:ea typeface="Calibri"/>
              <a:cs typeface="Calibri"/>
            </a:endParaRPr>
          </a:p>
        </p:txBody>
      </p:sp>
      <p:sp>
        <p:nvSpPr>
          <p:cNvPr id="34" name="Rounded Rectangle 90">
            <a:extLst>
              <a:ext uri="{FF2B5EF4-FFF2-40B4-BE49-F238E27FC236}">
                <a16:creationId xmlns:a16="http://schemas.microsoft.com/office/drawing/2014/main" id="{CB726A25-CFF2-A633-BB75-01000B742058}"/>
              </a:ext>
            </a:extLst>
          </p:cNvPr>
          <p:cNvSpPr/>
          <p:nvPr/>
        </p:nvSpPr>
        <p:spPr>
          <a:xfrm>
            <a:off x="6611873" y="2704406"/>
            <a:ext cx="5476926" cy="78884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Respectful Parent and Caregiver Partnerships</a:t>
            </a:r>
            <a:endParaRPr lang="en-US" sz="1400">
              <a:solidFill>
                <a:srgbClr val="FF0000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Safe Sleep Aware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Calibri"/>
                <a:cs typeface="Calibri"/>
              </a:rPr>
              <a:t>Transition to Home, including </a:t>
            </a:r>
            <a:r>
              <a:rPr lang="en-US" sz="1400" err="1">
                <a:solidFill>
                  <a:schemeClr val="tx1"/>
                </a:solidFill>
                <a:latin typeface="Calibri"/>
                <a:cs typeface="Calibri"/>
              </a:rPr>
              <a:t>SDoH</a:t>
            </a:r>
            <a:r>
              <a:rPr lang="en-US" sz="1400">
                <a:solidFill>
                  <a:schemeClr val="tx1"/>
                </a:solidFill>
                <a:latin typeface="Calibri"/>
                <a:cs typeface="Calibri"/>
              </a:rPr>
              <a:t> 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Screening and Resource Linkage</a:t>
            </a:r>
            <a:endParaRPr lang="en-US" sz="140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36" name="Rounded Rectangle 91">
            <a:extLst>
              <a:ext uri="{FF2B5EF4-FFF2-40B4-BE49-F238E27FC236}">
                <a16:creationId xmlns:a16="http://schemas.microsoft.com/office/drawing/2014/main" id="{C5BA209B-6AD7-115B-8383-D8382814ACEE}"/>
              </a:ext>
            </a:extLst>
          </p:cNvPr>
          <p:cNvSpPr/>
          <p:nvPr/>
        </p:nvSpPr>
        <p:spPr>
          <a:xfrm>
            <a:off x="6606479" y="3667823"/>
            <a:ext cx="5474238" cy="78537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Resource Map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Building Relationships with Community Organiz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ransfer of Care to Community Providers</a:t>
            </a:r>
          </a:p>
        </p:txBody>
      </p:sp>
      <p:sp>
        <p:nvSpPr>
          <p:cNvPr id="38" name="Rounded Rectangle 92">
            <a:extLst>
              <a:ext uri="{FF2B5EF4-FFF2-40B4-BE49-F238E27FC236}">
                <a16:creationId xmlns:a16="http://schemas.microsoft.com/office/drawing/2014/main" id="{DD496E2B-129D-7877-3471-A97FA7218225}"/>
              </a:ext>
            </a:extLst>
          </p:cNvPr>
          <p:cNvSpPr/>
          <p:nvPr/>
        </p:nvSpPr>
        <p:spPr>
          <a:xfrm>
            <a:off x="6606981" y="4625513"/>
            <a:ext cx="5474238" cy="73647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Collection of Accurate Race and Ethnicity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Dissemination of Stratified Data</a:t>
            </a:r>
            <a:endParaRPr lang="en-US" sz="1400"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Application of Data to Address Inequities</a:t>
            </a:r>
            <a:endParaRPr lang="en-US" sz="1400">
              <a:latin typeface="Calibri"/>
              <a:ea typeface="Calibri"/>
              <a:cs typeface="Calibri"/>
            </a:endParaRPr>
          </a:p>
        </p:txBody>
      </p:sp>
      <p:sp>
        <p:nvSpPr>
          <p:cNvPr id="40" name="Rounded Rectangle 93">
            <a:extLst>
              <a:ext uri="{FF2B5EF4-FFF2-40B4-BE49-F238E27FC236}">
                <a16:creationId xmlns:a16="http://schemas.microsoft.com/office/drawing/2014/main" id="{BDCA2154-1309-1ECE-3338-3B699831342F}"/>
              </a:ext>
            </a:extLst>
          </p:cNvPr>
          <p:cNvSpPr/>
          <p:nvPr/>
        </p:nvSpPr>
        <p:spPr>
          <a:xfrm>
            <a:off x="2978110" y="5811228"/>
            <a:ext cx="1058563" cy="59595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/>
              <a:t>ESSI Bundle</a:t>
            </a:r>
            <a:r>
              <a:rPr lang="en-US" sz="1400"/>
              <a:t>:</a:t>
            </a:r>
          </a:p>
        </p:txBody>
      </p:sp>
      <p:sp>
        <p:nvSpPr>
          <p:cNvPr id="42" name="Rounded Rectangle 96">
            <a:extLst>
              <a:ext uri="{FF2B5EF4-FFF2-40B4-BE49-F238E27FC236}">
                <a16:creationId xmlns:a16="http://schemas.microsoft.com/office/drawing/2014/main" id="{E9E3C6CF-96AA-68D8-0977-EC06066DAB15}"/>
              </a:ext>
            </a:extLst>
          </p:cNvPr>
          <p:cNvSpPr/>
          <p:nvPr/>
        </p:nvSpPr>
        <p:spPr>
          <a:xfrm>
            <a:off x="4190069" y="5500950"/>
            <a:ext cx="7906627" cy="121703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Awareness</a:t>
            </a:r>
            <a:r>
              <a:rPr lang="en-US" sz="1400">
                <a:latin typeface="Calibri"/>
                <a:cs typeface="Calibri"/>
              </a:rPr>
              <a:t>: Parents or caregivers report an understanding of a safe sleep environment, including navigating challenges to safe sleep at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Readiness</a:t>
            </a:r>
            <a:r>
              <a:rPr lang="en-US" sz="1400">
                <a:latin typeface="Calibri"/>
                <a:cs typeface="Calibri"/>
              </a:rPr>
              <a:t>: 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Family is prepared for a transition to home, including </a:t>
            </a:r>
            <a:r>
              <a:rPr lang="en-US" sz="1400" err="1">
                <a:solidFill>
                  <a:schemeClr val="tx1"/>
                </a:solidFill>
                <a:latin typeface="Calibri"/>
                <a:ea typeface="+mn-lt"/>
                <a:cs typeface="+mn-lt"/>
              </a:rPr>
              <a:t>SDoH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 screening and resource linkage</a:t>
            </a:r>
            <a:endParaRPr lang="en-US" sz="140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Transfer of Care</a:t>
            </a:r>
            <a:r>
              <a:rPr lang="en-US" sz="1400">
                <a:latin typeface="Calibri"/>
                <a:cs typeface="Calibri"/>
              </a:rPr>
              <a:t>: ESSI Newborn Care Plan (Awareness &amp; Readiness) documented in the discharge 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8E28592-FDD2-A9FB-FF64-0D7E537442D4}"/>
              </a:ext>
            </a:extLst>
          </p:cNvPr>
          <p:cNvSpPr/>
          <p:nvPr/>
        </p:nvSpPr>
        <p:spPr>
          <a:xfrm>
            <a:off x="4715527" y="655007"/>
            <a:ext cx="7442547" cy="960328"/>
          </a:xfrm>
          <a:prstGeom prst="round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02B4FC7-02B4-B308-F882-1F10636CBFF9}"/>
              </a:ext>
            </a:extLst>
          </p:cNvPr>
          <p:cNvSpPr/>
          <p:nvPr/>
        </p:nvSpPr>
        <p:spPr>
          <a:xfrm>
            <a:off x="4360623" y="581938"/>
            <a:ext cx="636739" cy="61586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ea typeface="Calibri"/>
                <a:cs typeface="Calibri"/>
              </a:rPr>
              <a:t>1</a:t>
            </a:r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12100221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279978-6647-EDE0-87A0-C3A213094B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3213164"/>
          </a:xfrm>
        </p:spPr>
        <p:txBody>
          <a:bodyPr/>
          <a:lstStyle/>
          <a:p>
            <a:r>
              <a:rPr lang="en-US">
                <a:solidFill>
                  <a:srgbClr val="1C498B"/>
                </a:solidFill>
                <a:latin typeface="Open Sans"/>
                <a:ea typeface="+mj-lt"/>
                <a:cs typeface="+mj-lt"/>
              </a:rPr>
              <a:t>Safe Sleep Environment Education and Implementation</a:t>
            </a:r>
            <a:endParaRPr lang="en-US">
              <a:solidFill>
                <a:srgbClr val="1C498B"/>
              </a:solidFill>
              <a:latin typeface="Open Sans"/>
              <a:cs typeface="Prompt Bold"/>
            </a:endParaRPr>
          </a:p>
        </p:txBody>
      </p:sp>
    </p:spTree>
    <p:extLst>
      <p:ext uri="{BB962C8B-B14F-4D97-AF65-F5344CB8AC3E}">
        <p14:creationId xmlns:p14="http://schemas.microsoft.com/office/powerpoint/2010/main" val="36203810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2E7123-BAD4-E8B0-B02F-F4EB8F3A57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9203"/>
            <a:ext cx="10972800" cy="1325563"/>
          </a:xfrm>
        </p:spPr>
        <p:txBody>
          <a:bodyPr/>
          <a:lstStyle/>
          <a:p>
            <a:r>
              <a:rPr lang="en-US" sz="4800"/>
              <a:t>SUI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BEB79D-2AEA-7D29-F69D-464032F0B1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99740"/>
            <a:ext cx="10972800" cy="4351338"/>
          </a:xfrm>
        </p:spPr>
        <p:txBody>
          <a:bodyPr/>
          <a:lstStyle/>
          <a:p>
            <a:pPr algn="l"/>
            <a:r>
              <a:rPr lang="en-US" b="0" i="0" u="none" strike="noStrike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Each year, there are about 3,400 </a:t>
            </a:r>
            <a:r>
              <a:rPr lang="en-US" b="0" i="0" u="sng" strike="noStrike">
                <a:solidFill>
                  <a:srgbClr val="075290"/>
                </a:solidFill>
                <a:effectLst/>
                <a:latin typeface="Open Sans" panose="020B0606030504020204" pitchFamily="34" charset="0"/>
                <a:hlinkClick r:id="rId2"/>
              </a:rPr>
              <a:t>sudden unexpected infant deaths (SUID)</a:t>
            </a:r>
            <a:r>
              <a:rPr lang="en-US" b="0" i="0" u="none" strike="noStrike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 in the United States. These deaths occur among infants less than 1 year old and have no immediately obvious cause.</a:t>
            </a:r>
          </a:p>
          <a:p>
            <a:pPr algn="l"/>
            <a:r>
              <a:rPr lang="en-US" b="0" i="0" u="none" strike="noStrike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The three commonly reported types of SUID include the following:</a:t>
            </a:r>
          </a:p>
          <a:p>
            <a:pPr lvl="1"/>
            <a:r>
              <a:rPr lang="en-US" b="0" i="0" u="none" strike="noStrike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Sudden infant death syndrome (SIDS).</a:t>
            </a:r>
          </a:p>
          <a:p>
            <a:pPr lvl="1"/>
            <a:r>
              <a:rPr lang="en-US" b="0" i="0" u="none" strike="noStrike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Unknown cause.</a:t>
            </a:r>
          </a:p>
          <a:p>
            <a:pPr lvl="1"/>
            <a:r>
              <a:rPr lang="en-US" b="0" i="0" u="none" strike="noStrike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ccidental suffocation and strangulation in bed.</a:t>
            </a:r>
          </a:p>
          <a:p>
            <a:pPr algn="l"/>
            <a:r>
              <a:rPr lang="en-US" b="0" i="0" u="none" strike="noStrike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n 2020, there were about 1,389 deaths due to SIDS, about 1,062 deaths due to unknown causes, and about 905 deaths due to accidental suffocation and strangulation in bed.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D968FD-FD88-F7DB-FE9C-3A9F31C909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3B21D4-D3BF-922E-CA1F-E257C3BC8B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412092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7FCCDC-8887-2CF8-390F-716E24135A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24FF54-A4CA-3B79-4D35-E6246ABD7F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C4127F9-29CB-E813-33DB-37EED80B972F}"/>
              </a:ext>
            </a:extLst>
          </p:cNvPr>
          <p:cNvSpPr/>
          <p:nvPr/>
        </p:nvSpPr>
        <p:spPr>
          <a:xfrm>
            <a:off x="6421514" y="-14796"/>
            <a:ext cx="5770485" cy="15831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ontent Placeholder 6" descr="A pie chart with numbers and text&#10;&#10;Description automatically generated">
            <a:extLst>
              <a:ext uri="{FF2B5EF4-FFF2-40B4-BE49-F238E27FC236}">
                <a16:creationId xmlns:a16="http://schemas.microsoft.com/office/drawing/2014/main" id="{C5DC1E80-EF53-C7DB-EF78-27D85062BEC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158" y="580671"/>
            <a:ext cx="10684286" cy="5120736"/>
          </a:xfrm>
        </p:spPr>
      </p:pic>
    </p:spTree>
    <p:extLst>
      <p:ext uri="{BB962C8B-B14F-4D97-AF65-F5344CB8AC3E}">
        <p14:creationId xmlns:p14="http://schemas.microsoft.com/office/powerpoint/2010/main" val="13321705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Welcome Corliss!  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-641230" y="1250531"/>
            <a:ext cx="9473514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 algn="ctr">
              <a:buNone/>
            </a:pPr>
            <a:endParaRPr lang="en-US">
              <a:ea typeface="Lato"/>
              <a:cs typeface="Lato"/>
            </a:endParaRPr>
          </a:p>
          <a:p>
            <a:pPr marL="0" indent="0" algn="ctr">
              <a:buNone/>
            </a:pPr>
            <a:r>
              <a:rPr lang="en-US">
                <a:ea typeface="Lato"/>
                <a:cs typeface="Lato"/>
              </a:rPr>
              <a:t>Please welcome our newest ILPQC team member:</a:t>
            </a:r>
          </a:p>
          <a:p>
            <a:pPr marL="0" indent="0" algn="ctr">
              <a:buNone/>
            </a:pPr>
            <a:endParaRPr lang="en-US"/>
          </a:p>
          <a:p>
            <a:pPr marL="0" indent="0" algn="ctr">
              <a:buNone/>
            </a:pPr>
            <a:r>
              <a:rPr lang="en-US" sz="3600" b="1">
                <a:solidFill>
                  <a:schemeClr val="accent1"/>
                </a:solidFill>
                <a:ea typeface="Lato"/>
                <a:cs typeface="Lato"/>
              </a:rPr>
              <a:t>Corliss Davis</a:t>
            </a:r>
          </a:p>
          <a:p>
            <a:pPr marL="0" indent="0" algn="ctr">
              <a:buNone/>
            </a:pPr>
            <a:r>
              <a:rPr lang="en-US" sz="3600" b="1">
                <a:solidFill>
                  <a:schemeClr val="accent1"/>
                </a:solidFill>
                <a:ea typeface="Lato"/>
                <a:cs typeface="Lato"/>
              </a:rPr>
              <a:t>ILPQC Community Engagement</a:t>
            </a:r>
            <a:endParaRPr lang="en-US" sz="3600" b="1">
              <a:solidFill>
                <a:schemeClr val="accent1"/>
              </a:solidFill>
            </a:endParaRPr>
          </a:p>
          <a:p>
            <a:pPr marL="0" indent="0" algn="ctr">
              <a:buNone/>
            </a:pPr>
            <a:r>
              <a:rPr lang="en-US" sz="3600" b="1">
                <a:solidFill>
                  <a:schemeClr val="accent1"/>
                </a:solidFill>
                <a:ea typeface="Lato"/>
                <a:cs typeface="Lato"/>
              </a:rPr>
              <a:t>Project Coordinator </a:t>
            </a:r>
            <a:endParaRPr lang="en-US" sz="3600" b="1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7" name="Picture 6" descr="A person wearing glasses and smiling&#10;&#10;Description automatically generated">
            <a:extLst>
              <a:ext uri="{FF2B5EF4-FFF2-40B4-BE49-F238E27FC236}">
                <a16:creationId xmlns:a16="http://schemas.microsoft.com/office/drawing/2014/main" id="{57071DC3-F011-2487-7842-4D997CB42E2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0127" y="1831675"/>
            <a:ext cx="2752238" cy="3856008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1921768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286A40-F68F-D9C8-F903-AEC04C7387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365" y="151520"/>
            <a:ext cx="11582400" cy="1325563"/>
          </a:xfrm>
        </p:spPr>
        <p:txBody>
          <a:bodyPr/>
          <a:lstStyle/>
          <a:p>
            <a:r>
              <a:rPr lang="en-US" b="1">
                <a:solidFill>
                  <a:srgbClr val="1C498B"/>
                </a:solidFill>
              </a:rPr>
              <a:t>Sudden Unexpected Infant Death Case Regist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4BC554-F758-53E6-E8E8-88853DB141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3249" y="1255974"/>
            <a:ext cx="10515600" cy="4351338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 fontAlgn="base"/>
            <a:r>
              <a:rPr lang="en-US" b="0" i="0">
                <a:solidFill>
                  <a:srgbClr val="000000"/>
                </a:solidFill>
                <a:effectLst/>
                <a:latin typeface="Aptos"/>
              </a:rPr>
              <a:t>During the pandemic years of 2020-2021 in Cook County, </a:t>
            </a:r>
            <a:r>
              <a:rPr lang="en-US" b="1" i="0">
                <a:solidFill>
                  <a:srgbClr val="000000"/>
                </a:solidFill>
                <a:effectLst/>
                <a:latin typeface="Aptos"/>
              </a:rPr>
              <a:t>infants continued to die suddenly and unexpectedly about once a week.</a:t>
            </a:r>
            <a:endParaRPr lang="en-US" b="0" i="0">
              <a:solidFill>
                <a:srgbClr val="000000"/>
              </a:solidFill>
              <a:effectLst/>
              <a:latin typeface="Segoe UI"/>
              <a:cs typeface="Segoe UI"/>
            </a:endParaRP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During this time there were 99 SUIDs, </a:t>
            </a:r>
            <a:r>
              <a:rPr lang="en-US" b="1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96 of which were sleep-related</a:t>
            </a:r>
            <a:r>
              <a:rPr lang="en-US" b="0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.</a:t>
            </a:r>
          </a:p>
          <a:p>
            <a:pPr marL="742950" lvl="1" indent="-285750" algn="l" fontAlgn="base">
              <a:buFont typeface="Arial" panose="020B0604020202020204" pitchFamily="34" charset="0"/>
              <a:buChar char="•"/>
            </a:pPr>
            <a:r>
              <a:rPr lang="en-US" sz="2400" b="1" i="0">
                <a:solidFill>
                  <a:srgbClr val="1C498B"/>
                </a:solidFill>
                <a:effectLst/>
                <a:latin typeface="Aptos"/>
              </a:rPr>
              <a:t>99%</a:t>
            </a:r>
            <a:r>
              <a:rPr lang="en-US" sz="2400" b="0" i="0">
                <a:solidFill>
                  <a:srgbClr val="000000"/>
                </a:solidFill>
                <a:effectLst/>
                <a:latin typeface="Aptos"/>
              </a:rPr>
              <a:t> of infants were found in an unsafe sleep environment.</a:t>
            </a:r>
          </a:p>
          <a:p>
            <a:pPr marL="742950" lvl="1" indent="-285750" algn="l" fontAlgn="base">
              <a:buFont typeface="Arial" panose="020B0604020202020204" pitchFamily="34" charset="0"/>
              <a:buChar char="•"/>
            </a:pPr>
            <a:r>
              <a:rPr lang="en-US" sz="2400" b="1" i="0">
                <a:solidFill>
                  <a:srgbClr val="1C498B"/>
                </a:solidFill>
                <a:effectLst/>
                <a:latin typeface="Aptos"/>
              </a:rPr>
              <a:t>22% </a:t>
            </a:r>
            <a:r>
              <a:rPr lang="en-US" sz="2400" b="0" i="0">
                <a:solidFill>
                  <a:srgbClr val="000000"/>
                </a:solidFill>
                <a:effectLst/>
                <a:latin typeface="Aptos"/>
              </a:rPr>
              <a:t>of infants were found on their stomach.</a:t>
            </a:r>
          </a:p>
          <a:p>
            <a:pPr marL="742950" lvl="1" indent="-285750" algn="l" fontAlgn="base">
              <a:buFont typeface="Arial" panose="020B0604020202020204" pitchFamily="34" charset="0"/>
              <a:buChar char="•"/>
            </a:pPr>
            <a:r>
              <a:rPr lang="en-US" sz="2400" b="1" i="0">
                <a:solidFill>
                  <a:srgbClr val="1C498B"/>
                </a:solidFill>
                <a:effectLst/>
                <a:latin typeface="Aptos"/>
              </a:rPr>
              <a:t>74%</a:t>
            </a:r>
            <a:r>
              <a:rPr lang="en-US" sz="2400" b="0" i="0">
                <a:solidFill>
                  <a:srgbClr val="000000"/>
                </a:solidFill>
                <a:effectLst/>
                <a:latin typeface="Aptos"/>
              </a:rPr>
              <a:t> of infants were sleeping with another person.</a:t>
            </a:r>
          </a:p>
          <a:p>
            <a:pPr marL="742950" lvl="1" indent="-285750" algn="l" fontAlgn="base">
              <a:buFont typeface="Arial" panose="020B0604020202020204" pitchFamily="34" charset="0"/>
              <a:buChar char="•"/>
            </a:pPr>
            <a:r>
              <a:rPr lang="en-US" sz="2400" b="1" i="0">
                <a:solidFill>
                  <a:srgbClr val="1C498B"/>
                </a:solidFill>
                <a:effectLst/>
                <a:latin typeface="Aptos"/>
              </a:rPr>
              <a:t>89%</a:t>
            </a:r>
            <a:r>
              <a:rPr lang="en-US" sz="2400" b="0" i="0">
                <a:solidFill>
                  <a:srgbClr val="000000"/>
                </a:solidFill>
                <a:effectLst/>
                <a:latin typeface="Aptos"/>
              </a:rPr>
              <a:t> of infants were found in places not approved for safe sleep.</a:t>
            </a:r>
          </a:p>
          <a:p>
            <a:pPr marL="742950" lvl="1" indent="-285750" algn="l" fontAlgn="base">
              <a:buFont typeface="Arial" panose="020B0604020202020204" pitchFamily="34" charset="0"/>
              <a:buChar char="•"/>
            </a:pPr>
            <a:r>
              <a:rPr lang="en-US" sz="2400" b="1" i="0">
                <a:solidFill>
                  <a:srgbClr val="1C498B"/>
                </a:solidFill>
                <a:effectLst/>
                <a:latin typeface="Aptos"/>
              </a:rPr>
              <a:t>91% </a:t>
            </a:r>
            <a:r>
              <a:rPr lang="en-US" sz="2400" b="0" i="0">
                <a:solidFill>
                  <a:srgbClr val="000000"/>
                </a:solidFill>
                <a:effectLst/>
                <a:latin typeface="Aptos"/>
              </a:rPr>
              <a:t>percent of infants were sleeping with soft bedding.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3F41F4-E092-15A5-8E71-2381BC6C8E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AAA51A-0C5B-F91A-3E8A-78909F2BD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624576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57EAB2-7AF0-C8D1-AAB8-9F4B01793B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18643"/>
            <a:ext cx="10515600" cy="4351338"/>
          </a:xfrm>
        </p:spPr>
        <p:txBody>
          <a:bodyPr/>
          <a:lstStyle/>
          <a:p>
            <a:pPr marL="0" indent="0" algn="ctr">
              <a:buNone/>
            </a:pPr>
            <a:r>
              <a:rPr lang="en-US" sz="3600" b="1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We must continue to raise awareness of these tragedies and respectfully promote safe infant sleep practices </a:t>
            </a:r>
            <a:r>
              <a:rPr lang="en-US" sz="3600" b="1">
                <a:solidFill>
                  <a:srgbClr val="000000"/>
                </a:solidFill>
                <a:latin typeface="Aptos" panose="020B0004020202020204" pitchFamily="34" charset="0"/>
              </a:rPr>
              <a:t>to</a:t>
            </a:r>
            <a:r>
              <a:rPr lang="en-US" sz="3600" b="1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 reduce risk and to </a:t>
            </a:r>
            <a:r>
              <a:rPr lang="en-US" sz="3600" b="1">
                <a:solidFill>
                  <a:srgbClr val="000000"/>
                </a:solidFill>
                <a:latin typeface="Aptos" panose="020B0004020202020204" pitchFamily="34" charset="0"/>
              </a:rPr>
              <a:t>eliminate these preventable deaths</a:t>
            </a:r>
            <a:r>
              <a:rPr lang="en-US" sz="3600" b="1" i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. </a:t>
            </a:r>
            <a:endParaRPr lang="en-US" sz="3600" b="1" i="0">
              <a:solidFill>
                <a:srgbClr val="242424"/>
              </a:solidFill>
              <a:effectLst/>
              <a:latin typeface="Segoe UI" panose="020B0502040204020203" pitchFamily="34" charset="0"/>
            </a:endParaRP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92608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5842568" y="4307005"/>
            <a:ext cx="5144921" cy="1596587"/>
          </a:xfrm>
          <a:custGeom>
            <a:avLst/>
            <a:gdLst/>
            <a:ahLst/>
            <a:cxnLst/>
            <a:rect l="l" t="t" r="r" b="b"/>
            <a:pathLst>
              <a:path w="7717382" h="2394881">
                <a:moveTo>
                  <a:pt x="0" y="0"/>
                </a:moveTo>
                <a:lnTo>
                  <a:pt x="7717383" y="0"/>
                </a:lnTo>
                <a:lnTo>
                  <a:pt x="7717383" y="2394881"/>
                </a:lnTo>
                <a:lnTo>
                  <a:pt x="0" y="2394881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alphaModFix amt="4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" name="Group 3"/>
          <p:cNvGrpSpPr/>
          <p:nvPr/>
        </p:nvGrpSpPr>
        <p:grpSpPr>
          <a:xfrm>
            <a:off x="5686106" y="4778862"/>
            <a:ext cx="5450071" cy="1482395"/>
            <a:chOff x="0" y="0"/>
            <a:chExt cx="2156186" cy="4289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FFC000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6" name="Freeform 6"/>
          <p:cNvSpPr/>
          <p:nvPr/>
        </p:nvSpPr>
        <p:spPr>
          <a:xfrm>
            <a:off x="5827017" y="2476089"/>
            <a:ext cx="5144921" cy="1596587"/>
          </a:xfrm>
          <a:custGeom>
            <a:avLst/>
            <a:gdLst/>
            <a:ahLst/>
            <a:cxnLst/>
            <a:rect l="l" t="t" r="r" b="b"/>
            <a:pathLst>
              <a:path w="7717382" h="2394881">
                <a:moveTo>
                  <a:pt x="0" y="0"/>
                </a:moveTo>
                <a:lnTo>
                  <a:pt x="7717383" y="0"/>
                </a:lnTo>
                <a:lnTo>
                  <a:pt x="7717383" y="2394881"/>
                </a:lnTo>
                <a:lnTo>
                  <a:pt x="0" y="2394881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alphaModFix amt="4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7" name="Group 7"/>
          <p:cNvGrpSpPr/>
          <p:nvPr/>
        </p:nvGrpSpPr>
        <p:grpSpPr>
          <a:xfrm>
            <a:off x="5678330" y="2778546"/>
            <a:ext cx="5457846" cy="1785639"/>
            <a:chOff x="0" y="0"/>
            <a:chExt cx="2156186" cy="428975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BD429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TextBox 9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19" name="AutoShape 19"/>
          <p:cNvSpPr/>
          <p:nvPr/>
        </p:nvSpPr>
        <p:spPr>
          <a:xfrm flipV="1">
            <a:off x="6777080" y="3339445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20" name="AutoShape 20"/>
          <p:cNvSpPr/>
          <p:nvPr/>
        </p:nvSpPr>
        <p:spPr>
          <a:xfrm flipV="1">
            <a:off x="6668223" y="5173242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21" name="AutoShape 21"/>
          <p:cNvSpPr/>
          <p:nvPr/>
        </p:nvSpPr>
        <p:spPr>
          <a:xfrm>
            <a:off x="5686105" y="809084"/>
            <a:ext cx="1488295" cy="0"/>
          </a:xfrm>
          <a:prstGeom prst="line">
            <a:avLst/>
          </a:prstGeom>
          <a:ln w="3810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22" name="Freeform 22"/>
          <p:cNvSpPr/>
          <p:nvPr/>
        </p:nvSpPr>
        <p:spPr>
          <a:xfrm>
            <a:off x="-846965" y="4892042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0"/>
                </a:moveTo>
                <a:lnTo>
                  <a:pt x="1674224" y="0"/>
                </a:lnTo>
                <a:lnTo>
                  <a:pt x="1674224" y="3639618"/>
                </a:lnTo>
                <a:lnTo>
                  <a:pt x="0" y="3639618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3" name="Freeform 23"/>
          <p:cNvSpPr/>
          <p:nvPr/>
        </p:nvSpPr>
        <p:spPr>
          <a:xfrm flipV="1">
            <a:off x="11549785" y="-576427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3639618"/>
                </a:moveTo>
                <a:lnTo>
                  <a:pt x="1674224" y="3639618"/>
                </a:lnTo>
                <a:lnTo>
                  <a:pt x="1674224" y="0"/>
                </a:lnTo>
                <a:lnTo>
                  <a:pt x="0" y="0"/>
                </a:lnTo>
                <a:lnTo>
                  <a:pt x="0" y="3639618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24" name="Group 24"/>
          <p:cNvGrpSpPr/>
          <p:nvPr/>
        </p:nvGrpSpPr>
        <p:grpSpPr>
          <a:xfrm>
            <a:off x="11377921" y="6168748"/>
            <a:ext cx="1368800" cy="1368800"/>
            <a:chOff x="0" y="0"/>
            <a:chExt cx="812800" cy="812800"/>
          </a:xfrm>
        </p:grpSpPr>
        <p:sp>
          <p:nvSpPr>
            <p:cNvPr id="25" name="Freeform 25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TextBox 26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27" name="Group 27"/>
          <p:cNvGrpSpPr/>
          <p:nvPr/>
        </p:nvGrpSpPr>
        <p:grpSpPr>
          <a:xfrm>
            <a:off x="-415216" y="-654827"/>
            <a:ext cx="1368800" cy="1368800"/>
            <a:chOff x="0" y="0"/>
            <a:chExt cx="812800" cy="812800"/>
          </a:xfrm>
        </p:grpSpPr>
        <p:sp>
          <p:nvSpPr>
            <p:cNvPr id="28" name="Freeform 2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TextBox 29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sp>
        <p:nvSpPr>
          <p:cNvPr id="30" name="Freeform 30"/>
          <p:cNvSpPr/>
          <p:nvPr/>
        </p:nvSpPr>
        <p:spPr>
          <a:xfrm>
            <a:off x="3087435" y="6270053"/>
            <a:ext cx="1227815" cy="385227"/>
          </a:xfrm>
          <a:custGeom>
            <a:avLst/>
            <a:gdLst/>
            <a:ahLst/>
            <a:cxnLst/>
            <a:rect l="l" t="t" r="r" b="b"/>
            <a:pathLst>
              <a:path w="1841723" h="577841">
                <a:moveTo>
                  <a:pt x="0" y="0"/>
                </a:moveTo>
                <a:lnTo>
                  <a:pt x="1841723" y="0"/>
                </a:lnTo>
                <a:lnTo>
                  <a:pt x="1841723" y="577841"/>
                </a:lnTo>
                <a:lnTo>
                  <a:pt x="0" y="577841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1" name="Freeform 31"/>
          <p:cNvSpPr/>
          <p:nvPr/>
        </p:nvSpPr>
        <p:spPr>
          <a:xfrm rot="16200000">
            <a:off x="9841654" y="5245981"/>
            <a:ext cx="1167003" cy="2743200"/>
          </a:xfrm>
          <a:custGeom>
            <a:avLst/>
            <a:gdLst/>
            <a:ahLst/>
            <a:cxnLst/>
            <a:rect l="l" t="t" r="r" b="b"/>
            <a:pathLst>
              <a:path w="1750505" h="4114800">
                <a:moveTo>
                  <a:pt x="0" y="0"/>
                </a:moveTo>
                <a:lnTo>
                  <a:pt x="1750504" y="0"/>
                </a:lnTo>
                <a:lnTo>
                  <a:pt x="1750504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2" name="Freeform 32"/>
          <p:cNvSpPr/>
          <p:nvPr/>
        </p:nvSpPr>
        <p:spPr>
          <a:xfrm rot="16200000">
            <a:off x="5472130" y="-1701101"/>
            <a:ext cx="1167003" cy="2743200"/>
          </a:xfrm>
          <a:custGeom>
            <a:avLst/>
            <a:gdLst/>
            <a:ahLst/>
            <a:cxnLst/>
            <a:rect l="l" t="t" r="r" b="b"/>
            <a:pathLst>
              <a:path w="1750505" h="4114800">
                <a:moveTo>
                  <a:pt x="0" y="0"/>
                </a:moveTo>
                <a:lnTo>
                  <a:pt x="1750505" y="0"/>
                </a:lnTo>
                <a:lnTo>
                  <a:pt x="1750505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3" name="Freeform 33"/>
          <p:cNvSpPr/>
          <p:nvPr/>
        </p:nvSpPr>
        <p:spPr>
          <a:xfrm>
            <a:off x="396776" y="5994227"/>
            <a:ext cx="1566169" cy="732711"/>
          </a:xfrm>
          <a:custGeom>
            <a:avLst/>
            <a:gdLst/>
            <a:ahLst/>
            <a:cxnLst/>
            <a:rect l="l" t="t" r="r" b="b"/>
            <a:pathLst>
              <a:path w="2349253" h="1099066">
                <a:moveTo>
                  <a:pt x="0" y="0"/>
                </a:moveTo>
                <a:lnTo>
                  <a:pt x="2349253" y="0"/>
                </a:lnTo>
                <a:lnTo>
                  <a:pt x="2349253" y="1099066"/>
                </a:lnTo>
                <a:lnTo>
                  <a:pt x="0" y="1099066"/>
                </a:lnTo>
                <a:lnTo>
                  <a:pt x="0" y="0"/>
                </a:lnTo>
                <a:close/>
              </a:path>
            </a:pathLst>
          </a:custGeom>
          <a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4" name="TextBox 34"/>
          <p:cNvSpPr txBox="1"/>
          <p:nvPr/>
        </p:nvSpPr>
        <p:spPr>
          <a:xfrm>
            <a:off x="730288" y="634437"/>
            <a:ext cx="4632329" cy="185717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733"/>
              </a:lnSpc>
            </a:pPr>
            <a:r>
              <a:rPr lang="en-US" sz="2666" spc="111">
                <a:solidFill>
                  <a:srgbClr val="000000"/>
                </a:solidFill>
                <a:latin typeface="Barlow Bold"/>
              </a:rPr>
              <a:t>DRIVER 1: </a:t>
            </a:r>
          </a:p>
          <a:p>
            <a:pPr>
              <a:lnSpc>
                <a:spcPts val="3733"/>
              </a:lnSpc>
            </a:pPr>
            <a:r>
              <a:rPr lang="en-US" sz="2666" spc="111">
                <a:solidFill>
                  <a:srgbClr val="000000"/>
                </a:solidFill>
                <a:latin typeface="Barlow Bold"/>
              </a:rPr>
              <a:t>HEALTHCARE PROFESSIONAL COMMITMENT​</a:t>
            </a:r>
          </a:p>
        </p:txBody>
      </p:sp>
      <p:sp>
        <p:nvSpPr>
          <p:cNvPr id="38" name="Freeform 38"/>
          <p:cNvSpPr/>
          <p:nvPr/>
        </p:nvSpPr>
        <p:spPr>
          <a:xfrm>
            <a:off x="3376180" y="930561"/>
            <a:ext cx="1242138" cy="1438075"/>
          </a:xfrm>
          <a:custGeom>
            <a:avLst/>
            <a:gdLst/>
            <a:ahLst/>
            <a:cxnLst/>
            <a:rect l="l" t="t" r="r" b="b"/>
            <a:pathLst>
              <a:path w="1863207" h="2157113">
                <a:moveTo>
                  <a:pt x="0" y="0"/>
                </a:moveTo>
                <a:lnTo>
                  <a:pt x="1863206" y="0"/>
                </a:lnTo>
                <a:lnTo>
                  <a:pt x="1863206" y="2157113"/>
                </a:lnTo>
                <a:lnTo>
                  <a:pt x="0" y="2157113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9" name="Group 39"/>
          <p:cNvGrpSpPr/>
          <p:nvPr/>
        </p:nvGrpSpPr>
        <p:grpSpPr>
          <a:xfrm>
            <a:off x="471488" y="2773202"/>
            <a:ext cx="3787056" cy="1387588"/>
            <a:chOff x="0" y="0"/>
            <a:chExt cx="1290616" cy="472885"/>
          </a:xfrm>
        </p:grpSpPr>
        <p:sp>
          <p:nvSpPr>
            <p:cNvPr id="40" name="Freeform 40"/>
            <p:cNvSpPr/>
            <p:nvPr/>
          </p:nvSpPr>
          <p:spPr>
            <a:xfrm>
              <a:off x="0" y="0"/>
              <a:ext cx="1290616" cy="472885"/>
            </a:xfrm>
            <a:custGeom>
              <a:avLst/>
              <a:gdLst/>
              <a:ahLst/>
              <a:cxnLst/>
              <a:rect l="l" t="t" r="r" b="b"/>
              <a:pathLst>
                <a:path w="1290616" h="472885">
                  <a:moveTo>
                    <a:pt x="27257" y="0"/>
                  </a:moveTo>
                  <a:lnTo>
                    <a:pt x="1263358" y="0"/>
                  </a:lnTo>
                  <a:cubicBezTo>
                    <a:pt x="1270587" y="0"/>
                    <a:pt x="1277520" y="2872"/>
                    <a:pt x="1282632" y="7984"/>
                  </a:cubicBezTo>
                  <a:cubicBezTo>
                    <a:pt x="1287744" y="13095"/>
                    <a:pt x="1290616" y="20028"/>
                    <a:pt x="1290616" y="27257"/>
                  </a:cubicBezTo>
                  <a:lnTo>
                    <a:pt x="1290616" y="445628"/>
                  </a:lnTo>
                  <a:cubicBezTo>
                    <a:pt x="1290616" y="460682"/>
                    <a:pt x="1278412" y="472885"/>
                    <a:pt x="1263358" y="472885"/>
                  </a:cubicBezTo>
                  <a:lnTo>
                    <a:pt x="27257" y="472885"/>
                  </a:lnTo>
                  <a:cubicBezTo>
                    <a:pt x="12204" y="472885"/>
                    <a:pt x="0" y="460682"/>
                    <a:pt x="0" y="445628"/>
                  </a:cubicBezTo>
                  <a:lnTo>
                    <a:pt x="0" y="27257"/>
                  </a:lnTo>
                  <a:cubicBezTo>
                    <a:pt x="0" y="12204"/>
                    <a:pt x="12204" y="0"/>
                    <a:pt x="27257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BD4291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TextBox 41"/>
            <p:cNvSpPr txBox="1"/>
            <p:nvPr/>
          </p:nvSpPr>
          <p:spPr>
            <a:xfrm>
              <a:off x="0" y="-38100"/>
              <a:ext cx="1290616" cy="51098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43" name="Group 43"/>
          <p:cNvGrpSpPr/>
          <p:nvPr/>
        </p:nvGrpSpPr>
        <p:grpSpPr>
          <a:xfrm>
            <a:off x="5670555" y="1114144"/>
            <a:ext cx="5457846" cy="1521272"/>
            <a:chOff x="0" y="0"/>
            <a:chExt cx="2156186" cy="428975"/>
          </a:xfrm>
        </p:grpSpPr>
        <p:sp>
          <p:nvSpPr>
            <p:cNvPr id="44" name="Freeform 44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4373A4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TextBox 45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46" name="AutoShape 46"/>
          <p:cNvSpPr/>
          <p:nvPr/>
        </p:nvSpPr>
        <p:spPr>
          <a:xfrm flipV="1">
            <a:off x="6774229" y="1585610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8" name="Freeform 48"/>
          <p:cNvSpPr/>
          <p:nvPr/>
        </p:nvSpPr>
        <p:spPr>
          <a:xfrm>
            <a:off x="5723617" y="1586297"/>
            <a:ext cx="897608" cy="615983"/>
          </a:xfrm>
          <a:custGeom>
            <a:avLst/>
            <a:gdLst/>
            <a:ahLst/>
            <a:cxnLst/>
            <a:rect l="l" t="t" r="r" b="b"/>
            <a:pathLst>
              <a:path w="1346412" h="923975">
                <a:moveTo>
                  <a:pt x="0" y="0"/>
                </a:moveTo>
                <a:lnTo>
                  <a:pt x="1346412" y="0"/>
                </a:lnTo>
                <a:lnTo>
                  <a:pt x="1346412" y="923975"/>
                </a:lnTo>
                <a:lnTo>
                  <a:pt x="0" y="923975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9" name="Freeform 49"/>
          <p:cNvSpPr/>
          <p:nvPr/>
        </p:nvSpPr>
        <p:spPr>
          <a:xfrm>
            <a:off x="5794282" y="3086740"/>
            <a:ext cx="909866" cy="928211"/>
          </a:xfrm>
          <a:custGeom>
            <a:avLst/>
            <a:gdLst/>
            <a:ahLst/>
            <a:cxnLst/>
            <a:rect l="l" t="t" r="r" b="b"/>
            <a:pathLst>
              <a:path w="1073218" h="1100736">
                <a:moveTo>
                  <a:pt x="0" y="0"/>
                </a:moveTo>
                <a:lnTo>
                  <a:pt x="1073218" y="0"/>
                </a:lnTo>
                <a:lnTo>
                  <a:pt x="1073218" y="1100736"/>
                </a:lnTo>
                <a:lnTo>
                  <a:pt x="0" y="1100736"/>
                </a:lnTo>
                <a:lnTo>
                  <a:pt x="0" y="0"/>
                </a:lnTo>
                <a:close/>
              </a:path>
            </a:pathLst>
          </a:custGeom>
          <a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0" name="Freeform 50"/>
          <p:cNvSpPr/>
          <p:nvPr/>
        </p:nvSpPr>
        <p:spPr>
          <a:xfrm>
            <a:off x="5725276" y="4967018"/>
            <a:ext cx="940945" cy="935974"/>
          </a:xfrm>
          <a:custGeom>
            <a:avLst/>
            <a:gdLst/>
            <a:ahLst/>
            <a:cxnLst/>
            <a:rect l="l" t="t" r="r" b="b"/>
            <a:pathLst>
              <a:path w="898235" h="1205685">
                <a:moveTo>
                  <a:pt x="0" y="0"/>
                </a:moveTo>
                <a:lnTo>
                  <a:pt x="898235" y="0"/>
                </a:lnTo>
                <a:lnTo>
                  <a:pt x="898235" y="1205685"/>
                </a:lnTo>
                <a:lnTo>
                  <a:pt x="0" y="1205685"/>
                </a:lnTo>
                <a:lnTo>
                  <a:pt x="0" y="0"/>
                </a:lnTo>
                <a:close/>
              </a:path>
            </a:pathLst>
          </a:custGeom>
          <a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3" name="TextBox 53"/>
          <p:cNvSpPr txBox="1"/>
          <p:nvPr/>
        </p:nvSpPr>
        <p:spPr>
          <a:xfrm>
            <a:off x="6910885" y="1285318"/>
            <a:ext cx="4080559" cy="122334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b="1" spc="43">
                <a:solidFill>
                  <a:srgbClr val="FFFFFF"/>
                </a:solidFill>
                <a:latin typeface="DM Sans"/>
              </a:rPr>
              <a:t>Educate providers, nurses, and other staff about the importance of a safe sleep environment for every sleep during hospitalization and at home  </a:t>
            </a:r>
            <a:endParaRPr lang="en-US" spc="43">
              <a:solidFill>
                <a:srgbClr val="FFFFFF"/>
              </a:solidFill>
              <a:latin typeface="DM Sans"/>
            </a:endParaRPr>
          </a:p>
        </p:txBody>
      </p:sp>
      <p:sp>
        <p:nvSpPr>
          <p:cNvPr id="54" name="TextBox 54"/>
          <p:cNvSpPr txBox="1"/>
          <p:nvPr/>
        </p:nvSpPr>
        <p:spPr>
          <a:xfrm>
            <a:off x="6895802" y="5013778"/>
            <a:ext cx="4094597" cy="9746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b="1" spc="43">
                <a:solidFill>
                  <a:srgbClr val="FFFFFF"/>
                </a:solidFill>
                <a:latin typeface="DM Sans"/>
              </a:rPr>
              <a:t>Endorse and model a safe sleep environment for every sleep during the hospitalization, including correcting unsafe behaviors  </a:t>
            </a:r>
            <a:endParaRPr lang="en-US" spc="43">
              <a:solidFill>
                <a:srgbClr val="FFFFFF"/>
              </a:solidFill>
              <a:latin typeface="DM Sans"/>
            </a:endParaRPr>
          </a:p>
        </p:txBody>
      </p:sp>
      <p:sp>
        <p:nvSpPr>
          <p:cNvPr id="56" name="TextBox 56"/>
          <p:cNvSpPr txBox="1"/>
          <p:nvPr/>
        </p:nvSpPr>
        <p:spPr>
          <a:xfrm>
            <a:off x="471488" y="3030116"/>
            <a:ext cx="3787056" cy="82997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600" spc="51">
                <a:solidFill>
                  <a:srgbClr val="000000"/>
                </a:solidFill>
                <a:latin typeface="DM Sans"/>
              </a:rPr>
              <a:t>Secondary Driver 2: Safe Sleep Environment Education and Implementation</a:t>
            </a:r>
          </a:p>
        </p:txBody>
      </p:sp>
      <p:sp>
        <p:nvSpPr>
          <p:cNvPr id="57" name="TextBox 57"/>
          <p:cNvSpPr txBox="1"/>
          <p:nvPr/>
        </p:nvSpPr>
        <p:spPr>
          <a:xfrm>
            <a:off x="6898401" y="2855716"/>
            <a:ext cx="4006858" cy="17106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b="1" spc="43">
                <a:solidFill>
                  <a:srgbClr val="FFFFFF"/>
                </a:solidFill>
                <a:latin typeface="DM Sans"/>
              </a:rPr>
              <a:t>Encourage meaningful, culturally appropriate, respectful, nonjudgmental conversations between providers, nurses, and other staff and parents and caregivers about a safe sleep environment </a:t>
            </a:r>
            <a:endParaRPr lang="en-US" spc="43">
              <a:solidFill>
                <a:srgbClr val="FFFFFF"/>
              </a:solidFill>
              <a:latin typeface="DM Sans"/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0780975F-40AC-4431-7277-8634D267BA1E}"/>
              </a:ext>
            </a:extLst>
          </p:cNvPr>
          <p:cNvCxnSpPr>
            <a:cxnSpLocks/>
          </p:cNvCxnSpPr>
          <p:nvPr/>
        </p:nvCxnSpPr>
        <p:spPr>
          <a:xfrm>
            <a:off x="4234848" y="3333893"/>
            <a:ext cx="1403405" cy="2170504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E6E294E1-60D1-93D5-F703-4C8CA9125137}"/>
              </a:ext>
            </a:extLst>
          </p:cNvPr>
          <p:cNvCxnSpPr>
            <a:cxnSpLocks/>
          </p:cNvCxnSpPr>
          <p:nvPr/>
        </p:nvCxnSpPr>
        <p:spPr>
          <a:xfrm>
            <a:off x="4261584" y="3373997"/>
            <a:ext cx="1443451" cy="13451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533F86FB-67E8-46C0-0C13-6B8ABD7D4C87}"/>
              </a:ext>
            </a:extLst>
          </p:cNvPr>
          <p:cNvCxnSpPr>
            <a:cxnSpLocks/>
          </p:cNvCxnSpPr>
          <p:nvPr/>
        </p:nvCxnSpPr>
        <p:spPr>
          <a:xfrm flipV="1">
            <a:off x="4234847" y="1918914"/>
            <a:ext cx="1435567" cy="1460048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CE06DA76-2516-7530-74D6-38D1B1FC6BFE}"/>
              </a:ext>
            </a:extLst>
          </p:cNvPr>
          <p:cNvSpPr txBox="1"/>
          <p:nvPr/>
        </p:nvSpPr>
        <p:spPr>
          <a:xfrm>
            <a:off x="7545294" y="1116176"/>
            <a:ext cx="2667520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n-US" sz="2200" b="1">
              <a:latin typeface="Arial"/>
              <a:ea typeface="MS PGothic"/>
              <a:cs typeface="Arial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8CD4543-B35F-C7BE-C5DB-7DF0067C551A}"/>
              </a:ext>
            </a:extLst>
          </p:cNvPr>
          <p:cNvSpPr txBox="1"/>
          <p:nvPr/>
        </p:nvSpPr>
        <p:spPr>
          <a:xfrm>
            <a:off x="7318154" y="244405"/>
            <a:ext cx="266752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b="1">
                <a:latin typeface="DM Sans"/>
                <a:ea typeface="MS PGothic"/>
                <a:cs typeface="Arial"/>
              </a:rPr>
              <a:t>Change Ideas</a:t>
            </a:r>
          </a:p>
        </p:txBody>
      </p:sp>
    </p:spTree>
    <p:extLst>
      <p:ext uri="{BB962C8B-B14F-4D97-AF65-F5344CB8AC3E}">
        <p14:creationId xmlns:p14="http://schemas.microsoft.com/office/powerpoint/2010/main" val="34199574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ADC924-4113-8D8F-DE56-A34C94E60A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64C6FB-33F2-A830-6CF5-C81795FE68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65707" y="6356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BCA8033-75D4-9FDD-5ADD-079F3E9C5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0791" y="70818"/>
            <a:ext cx="10328535" cy="1325563"/>
          </a:xfrm>
        </p:spPr>
        <p:txBody>
          <a:bodyPr/>
          <a:lstStyle/>
          <a:p>
            <a:r>
              <a:rPr lang="en-US" sz="3200">
                <a:latin typeface="DM Sans"/>
                <a:ea typeface="Lato Medium"/>
                <a:cs typeface="Lato Medium"/>
              </a:rPr>
              <a:t>ESSI </a:t>
            </a:r>
            <a:r>
              <a:rPr lang="en-US" sz="3200">
                <a:solidFill>
                  <a:srgbClr val="F66695"/>
                </a:solidFill>
                <a:latin typeface="DM Sans"/>
                <a:ea typeface="Lato Medium"/>
                <a:cs typeface="Lato Medium"/>
              </a:rPr>
              <a:t>Safe Sleep</a:t>
            </a:r>
            <a:r>
              <a:rPr lang="en-US" sz="3200">
                <a:latin typeface="DM Sans"/>
                <a:ea typeface="Lato Medium"/>
                <a:cs typeface="Lato Medium"/>
              </a:rPr>
              <a:t> Education Plan – Get to </a:t>
            </a:r>
            <a:r>
              <a:rPr lang="en-US" sz="3200">
                <a:solidFill>
                  <a:srgbClr val="00B050"/>
                </a:solidFill>
                <a:latin typeface="DM Sans"/>
                <a:ea typeface="Lato Medium"/>
                <a:cs typeface="Lato Medium"/>
              </a:rPr>
              <a:t>Green</a:t>
            </a:r>
            <a:endParaRPr lang="en-US" sz="3200">
              <a:solidFill>
                <a:srgbClr val="00B050"/>
              </a:solidFill>
              <a:latin typeface="DM Sans"/>
            </a:endParaRPr>
          </a:p>
        </p:txBody>
      </p:sp>
      <p:graphicFrame>
        <p:nvGraphicFramePr>
          <p:cNvPr id="10" name="Content Placeholder 2">
            <a:extLst>
              <a:ext uri="{FF2B5EF4-FFF2-40B4-BE49-F238E27FC236}">
                <a16:creationId xmlns:a16="http://schemas.microsoft.com/office/drawing/2014/main" id="{AA6F95A4-E644-E141-85AC-FEE639D908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8924138"/>
              </p:ext>
            </p:extLst>
          </p:nvPr>
        </p:nvGraphicFramePr>
        <p:xfrm>
          <a:off x="776090" y="1188473"/>
          <a:ext cx="10320057" cy="53528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6" name="TextBox 125">
            <a:extLst>
              <a:ext uri="{FF2B5EF4-FFF2-40B4-BE49-F238E27FC236}">
                <a16:creationId xmlns:a16="http://schemas.microsoft.com/office/drawing/2014/main" id="{9EEDF9AD-23FE-EC59-4406-70FEEA4D193D}"/>
              </a:ext>
            </a:extLst>
          </p:cNvPr>
          <p:cNvSpPr txBox="1"/>
          <p:nvPr/>
        </p:nvSpPr>
        <p:spPr>
          <a:xfrm>
            <a:off x="4063204" y="4782853"/>
            <a:ext cx="3373514" cy="116955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i="1">
                <a:solidFill>
                  <a:srgbClr val="F66695"/>
                </a:solidFill>
                <a:latin typeface="DM Sans"/>
                <a:cs typeface="Calibri"/>
              </a:rPr>
              <a:t>Option 1:</a:t>
            </a:r>
            <a:r>
              <a:rPr lang="en-US" sz="1400">
                <a:latin typeface="DM Sans"/>
                <a:cs typeface="Calibri"/>
              </a:rPr>
              <a:t> E-Module updated with 2022 AAP Recommendations </a:t>
            </a:r>
            <a:endParaRPr lang="en-US" sz="1400">
              <a:latin typeface="DM Sans"/>
            </a:endParaRPr>
          </a:p>
          <a:p>
            <a:r>
              <a:rPr lang="en-US" sz="1400" b="1" i="1">
                <a:solidFill>
                  <a:srgbClr val="F66695"/>
                </a:solidFill>
                <a:latin typeface="DM Sans"/>
                <a:cs typeface="Calibri"/>
              </a:rPr>
              <a:t>Option 2:</a:t>
            </a:r>
            <a:r>
              <a:rPr lang="en-US" sz="1400" b="1" i="1">
                <a:latin typeface="DM Sans"/>
                <a:cs typeface="Calibri"/>
              </a:rPr>
              <a:t> </a:t>
            </a:r>
            <a:r>
              <a:rPr lang="en-US" sz="1400">
                <a:latin typeface="DM Sans"/>
                <a:cs typeface="Calibri"/>
              </a:rPr>
              <a:t>Complete Cribs for Kids Safe Sleep Ambassador Training</a:t>
            </a:r>
          </a:p>
          <a:p>
            <a:endParaRPr lang="en-US" sz="1400">
              <a:latin typeface="DM Sans"/>
              <a:cs typeface="Calibri"/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AA465D96-3354-0513-4FC1-C2673374A8C4}"/>
              </a:ext>
            </a:extLst>
          </p:cNvPr>
          <p:cNvSpPr txBox="1"/>
          <p:nvPr/>
        </p:nvSpPr>
        <p:spPr>
          <a:xfrm>
            <a:off x="6620577" y="2392341"/>
            <a:ext cx="3373514" cy="224676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>
                <a:solidFill>
                  <a:srgbClr val="F66695"/>
                </a:solidFill>
                <a:latin typeface="DM Sans"/>
                <a:ea typeface="+mn-lt"/>
                <a:cs typeface="+mn-lt"/>
              </a:rPr>
              <a:t>Crib </a:t>
            </a:r>
            <a:r>
              <a:rPr lang="en-US" sz="1400" b="1">
                <a:solidFill>
                  <a:srgbClr val="000000"/>
                </a:solidFill>
                <a:latin typeface="DM Sans"/>
                <a:ea typeface="+mn-lt"/>
                <a:cs typeface="+mn-lt"/>
              </a:rPr>
              <a:t>Cards </a:t>
            </a:r>
            <a:endParaRPr lang="en-US" sz="1400">
              <a:solidFill>
                <a:srgbClr val="000000"/>
              </a:solidFill>
              <a:latin typeface="DM Sans"/>
              <a:ea typeface="+mn-lt"/>
              <a:cs typeface="+mn-lt"/>
            </a:endParaRPr>
          </a:p>
          <a:p>
            <a:r>
              <a:rPr lang="en-US" sz="1400" b="1">
                <a:solidFill>
                  <a:srgbClr val="F66695"/>
                </a:solidFill>
                <a:latin typeface="DM Sans"/>
                <a:cs typeface="Calibri"/>
              </a:rPr>
              <a:t>Crib </a:t>
            </a:r>
            <a:r>
              <a:rPr lang="en-US" sz="1400" b="1">
                <a:latin typeface="DM Sans"/>
                <a:cs typeface="Calibri"/>
              </a:rPr>
              <a:t>Audits </a:t>
            </a:r>
            <a:endParaRPr lang="en-US">
              <a:latin typeface="Aptos" panose="020B0004020202020204"/>
              <a:cs typeface="Calibri"/>
            </a:endParaRPr>
          </a:p>
          <a:p>
            <a:r>
              <a:rPr lang="en-US" sz="1400" b="1">
                <a:solidFill>
                  <a:srgbClr val="F5668F"/>
                </a:solidFill>
                <a:latin typeface="DM Sans"/>
                <a:cs typeface="Calibri"/>
              </a:rPr>
              <a:t>Media </a:t>
            </a:r>
            <a:r>
              <a:rPr lang="en-US" sz="1400" b="1">
                <a:latin typeface="DM Sans"/>
                <a:cs typeface="Calibri"/>
              </a:rPr>
              <a:t>Toolkits  </a:t>
            </a:r>
          </a:p>
          <a:p>
            <a:r>
              <a:rPr lang="en-US" sz="1400" b="1">
                <a:solidFill>
                  <a:srgbClr val="F5668F"/>
                </a:solidFill>
                <a:latin typeface="DM Sans"/>
                <a:cs typeface="Calibri"/>
              </a:rPr>
              <a:t>Sharing</a:t>
            </a:r>
            <a:r>
              <a:rPr lang="en-US" sz="1400" b="1">
                <a:latin typeface="DM Sans"/>
                <a:cs typeface="Calibri"/>
              </a:rPr>
              <a:t> Patient Stories</a:t>
            </a:r>
          </a:p>
          <a:p>
            <a:r>
              <a:rPr lang="en-US" sz="1400" b="1">
                <a:solidFill>
                  <a:srgbClr val="F5668F"/>
                </a:solidFill>
                <a:latin typeface="DM Sans"/>
                <a:cs typeface="Calibri"/>
              </a:rPr>
              <a:t>Risk</a:t>
            </a:r>
            <a:r>
              <a:rPr lang="en-US" sz="1400" b="1">
                <a:latin typeface="DM Sans"/>
                <a:cs typeface="Calibri"/>
              </a:rPr>
              <a:t> Reduction</a:t>
            </a:r>
          </a:p>
          <a:p>
            <a:r>
              <a:rPr lang="en-US" sz="1400" b="1">
                <a:solidFill>
                  <a:srgbClr val="F5668F"/>
                </a:solidFill>
                <a:latin typeface="DM Sans"/>
                <a:cs typeface="Calibri"/>
              </a:rPr>
              <a:t>Respectful</a:t>
            </a:r>
            <a:r>
              <a:rPr lang="en-US" sz="1400" b="1">
                <a:latin typeface="DM Sans"/>
                <a:cs typeface="Calibri"/>
              </a:rPr>
              <a:t> Conversations</a:t>
            </a:r>
          </a:p>
          <a:p>
            <a:endParaRPr lang="en-US" sz="1400" b="1">
              <a:latin typeface="DM Sans"/>
              <a:cs typeface="Calibri"/>
            </a:endParaRPr>
          </a:p>
          <a:p>
            <a:endParaRPr lang="en-US" sz="1400" b="1">
              <a:latin typeface="DM Sans"/>
              <a:cs typeface="Calibri"/>
            </a:endParaRPr>
          </a:p>
          <a:p>
            <a:endParaRPr lang="en-US" sz="1400" b="1">
              <a:latin typeface="DM Sans"/>
              <a:cs typeface="Calibri"/>
            </a:endParaRPr>
          </a:p>
          <a:p>
            <a:endParaRPr lang="en-US" sz="1400">
              <a:latin typeface="DM Sans"/>
              <a:cs typeface="Calibri"/>
            </a:endParaRPr>
          </a:p>
        </p:txBody>
      </p:sp>
      <p:pic>
        <p:nvPicPr>
          <p:cNvPr id="26" name="Graphic 25" descr="Badge 1 with solid fill">
            <a:extLst>
              <a:ext uri="{FF2B5EF4-FFF2-40B4-BE49-F238E27FC236}">
                <a16:creationId xmlns:a16="http://schemas.microsoft.com/office/drawing/2014/main" id="{840D0D8A-A220-186F-B18C-DF87FA1061F7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695766" y="1044730"/>
            <a:ext cx="704574" cy="704574"/>
          </a:xfrm>
          <a:prstGeom prst="rect">
            <a:avLst/>
          </a:prstGeom>
        </p:spPr>
      </p:pic>
      <p:pic>
        <p:nvPicPr>
          <p:cNvPr id="107" name="Graphic 106" descr="Badge with solid fill">
            <a:extLst>
              <a:ext uri="{FF2B5EF4-FFF2-40B4-BE49-F238E27FC236}">
                <a16:creationId xmlns:a16="http://schemas.microsoft.com/office/drawing/2014/main" id="{1B9EB8B5-E019-63A1-0DAA-308E36403A48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001213" y="5916990"/>
            <a:ext cx="748748" cy="726662"/>
          </a:xfrm>
          <a:prstGeom prst="rect">
            <a:avLst/>
          </a:prstGeom>
        </p:spPr>
      </p:pic>
      <p:pic>
        <p:nvPicPr>
          <p:cNvPr id="129" name="Graphic 128" descr="Badge 3 with solid fill">
            <a:extLst>
              <a:ext uri="{FF2B5EF4-FFF2-40B4-BE49-F238E27FC236}">
                <a16:creationId xmlns:a16="http://schemas.microsoft.com/office/drawing/2014/main" id="{8CEB922A-4796-BA28-C017-78DF47A15BDE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707410" y="1047849"/>
            <a:ext cx="682487" cy="682487"/>
          </a:xfrm>
          <a:prstGeom prst="rect">
            <a:avLst/>
          </a:prstGeom>
        </p:spPr>
      </p:pic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BD627594-8020-8E2C-2C7B-C87B8A573317}"/>
              </a:ext>
            </a:extLst>
          </p:cNvPr>
          <p:cNvSpPr/>
          <p:nvPr/>
        </p:nvSpPr>
        <p:spPr>
          <a:xfrm>
            <a:off x="2570090" y="3865764"/>
            <a:ext cx="5519052" cy="2772851"/>
          </a:xfrm>
          <a:prstGeom prst="roundRect">
            <a:avLst/>
          </a:prstGeom>
          <a:noFill/>
          <a:ln w="28575">
            <a:solidFill>
              <a:srgbClr val="F5668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0AC0C3E1-F544-3BCF-99E4-99DDA1D1958B}"/>
              </a:ext>
            </a:extLst>
          </p:cNvPr>
          <p:cNvSpPr/>
          <p:nvPr/>
        </p:nvSpPr>
        <p:spPr>
          <a:xfrm>
            <a:off x="5595895" y="1106288"/>
            <a:ext cx="5422878" cy="2765453"/>
          </a:xfrm>
          <a:prstGeom prst="roundRect">
            <a:avLst/>
          </a:prstGeom>
          <a:noFill/>
          <a:ln w="28575">
            <a:solidFill>
              <a:srgbClr val="F5668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3877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791C4-9B3C-9538-F299-A006E1E9E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8553" y="1792710"/>
            <a:ext cx="9365380" cy="2014679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3000">
                <a:solidFill>
                  <a:srgbClr val="1C498B"/>
                </a:solidFill>
                <a:latin typeface="DM Sans"/>
                <a:ea typeface="Lato Medium"/>
                <a:cs typeface="Arial"/>
              </a:rPr>
              <a:t>Step 2: Disseminate Recommendations and Educate about Safe Sleep</a:t>
            </a:r>
            <a:endParaRPr lang="en-US" sz="3000">
              <a:latin typeface="DM Sans"/>
              <a:ea typeface="Lato Medium"/>
              <a:cs typeface="Prompt"/>
            </a:endParaRPr>
          </a:p>
        </p:txBody>
      </p:sp>
    </p:spTree>
    <p:extLst>
      <p:ext uri="{BB962C8B-B14F-4D97-AF65-F5344CB8AC3E}">
        <p14:creationId xmlns:p14="http://schemas.microsoft.com/office/powerpoint/2010/main" val="298096560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2D6DEB5-8797-88BC-DDE6-E2941F308E96}"/>
              </a:ext>
            </a:extLst>
          </p:cNvPr>
          <p:cNvSpPr txBox="1">
            <a:spLocks/>
          </p:cNvSpPr>
          <p:nvPr/>
        </p:nvSpPr>
        <p:spPr>
          <a:xfrm>
            <a:off x="826" y="348572"/>
            <a:ext cx="8159838" cy="713509"/>
          </a:xfrm>
          <a:prstGeom prst="rect">
            <a:avLst/>
          </a:prstGeom>
          <a:noFill/>
        </p:spPr>
        <p:txBody>
          <a:bodyPr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4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Cribs for Kids – Ambassador Training</a:t>
            </a:r>
          </a:p>
        </p:txBody>
      </p:sp>
      <p:pic>
        <p:nvPicPr>
          <p:cNvPr id="4" name="Picture 3" descr="A group of people with a couple of people and numbers&#10;&#10;Description automatically generated">
            <a:extLst>
              <a:ext uri="{FF2B5EF4-FFF2-40B4-BE49-F238E27FC236}">
                <a16:creationId xmlns:a16="http://schemas.microsoft.com/office/drawing/2014/main" id="{902B4C75-A22D-A260-9DE9-B71CE4AE52E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59116" y="1941006"/>
            <a:ext cx="2084335" cy="98513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D6EAFCD-74EE-B81B-A6FC-85D532FCF16F}"/>
              </a:ext>
            </a:extLst>
          </p:cNvPr>
          <p:cNvSpPr txBox="1"/>
          <p:nvPr/>
        </p:nvSpPr>
        <p:spPr>
          <a:xfrm>
            <a:off x="154625" y="1061408"/>
            <a:ext cx="7338283" cy="186204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Calibri"/>
              <a:buChar char="-"/>
            </a:pPr>
            <a:r>
              <a:rPr lang="en-US" sz="2300" b="1">
                <a:solidFill>
                  <a:srgbClr val="EB7CBB"/>
                </a:solidFill>
                <a:latin typeface="DM Sans"/>
                <a:cs typeface="Calibri"/>
              </a:rPr>
              <a:t>ILPQC Recommended </a:t>
            </a:r>
          </a:p>
          <a:p>
            <a:pPr marL="342900" indent="-342900">
              <a:buFont typeface="Calibri"/>
              <a:buChar char="-"/>
            </a:pPr>
            <a:r>
              <a:rPr lang="en-US" sz="2300" b="1">
                <a:latin typeface="DM Sans"/>
                <a:cs typeface="Calibri"/>
              </a:rPr>
              <a:t>Easily accessible, brief course that goes into depth on 12 steps to safe sleep </a:t>
            </a:r>
          </a:p>
          <a:p>
            <a:pPr marL="342900" indent="-342900">
              <a:buFont typeface="Calibri"/>
              <a:buChar char="-"/>
            </a:pPr>
            <a:r>
              <a:rPr lang="en-US" sz="2300">
                <a:latin typeface="DM Sans"/>
                <a:cs typeface="Calibri"/>
              </a:rPr>
              <a:t>Available in English and Spanish </a:t>
            </a:r>
          </a:p>
          <a:p>
            <a:pPr marL="342900" indent="-342900">
              <a:buFont typeface="Calibri"/>
              <a:buChar char="-"/>
            </a:pPr>
            <a:endParaRPr lang="en-US" sz="2300">
              <a:latin typeface="DM Sans"/>
              <a:cs typeface="Calibri"/>
            </a:endParaRPr>
          </a:p>
        </p:txBody>
      </p:sp>
      <p:pic>
        <p:nvPicPr>
          <p:cNvPr id="7" name="Picture 6" descr="A screenshot of a blue screen&#10;&#10;Description automatically generated">
            <a:extLst>
              <a:ext uri="{FF2B5EF4-FFF2-40B4-BE49-F238E27FC236}">
                <a16:creationId xmlns:a16="http://schemas.microsoft.com/office/drawing/2014/main" id="{57CACF69-31F8-7B9A-85CD-74633EEB191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2990" y="3111"/>
            <a:ext cx="4215917" cy="6851779"/>
          </a:xfrm>
          <a:prstGeom prst="rect">
            <a:avLst/>
          </a:prstGeom>
        </p:spPr>
      </p:pic>
      <p:pic>
        <p:nvPicPr>
          <p:cNvPr id="2" name="Picture 1" descr="A screenshot of a course&#10;&#10;Description automatically generated">
            <a:extLst>
              <a:ext uri="{FF2B5EF4-FFF2-40B4-BE49-F238E27FC236}">
                <a16:creationId xmlns:a16="http://schemas.microsoft.com/office/drawing/2014/main" id="{7F70FE5A-4265-D970-A719-09D511E8F6B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6" b="-145"/>
          <a:stretch/>
        </p:blipFill>
        <p:spPr>
          <a:xfrm>
            <a:off x="0" y="2924255"/>
            <a:ext cx="7134349" cy="3933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0009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28A608-397A-92B2-5AE1-BE029C9EE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61552"/>
            <a:ext cx="10515600" cy="1325563"/>
          </a:xfrm>
        </p:spPr>
        <p:txBody>
          <a:bodyPr/>
          <a:lstStyle/>
          <a:p>
            <a:r>
              <a:rPr lang="en-US" b="1"/>
              <a:t>12 Steps from Cribs for Ki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BC18A3-8A5D-C9E2-5179-A783011A06B0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en-US"/>
              <a:t>Back to Sleep </a:t>
            </a:r>
          </a:p>
          <a:p>
            <a:r>
              <a:rPr lang="en-US"/>
              <a:t>Feed Baby Breast Milk</a:t>
            </a:r>
          </a:p>
          <a:p>
            <a:r>
              <a:rPr lang="en-US"/>
              <a:t>Place Baby in a Bare Crib</a:t>
            </a:r>
          </a:p>
          <a:p>
            <a:r>
              <a:rPr lang="en-US"/>
              <a:t>Avoid Smoking, Vaping, and Impairment</a:t>
            </a:r>
          </a:p>
          <a:p>
            <a:r>
              <a:rPr lang="en-US"/>
              <a:t>Keep up with Medical Visits and Vaccines</a:t>
            </a:r>
          </a:p>
          <a:p>
            <a:r>
              <a:rPr lang="en-US"/>
              <a:t>Practice Tummy Tim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8898795-18ED-5EE1-3211-2CE73FC7C464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r>
              <a:rPr lang="en-US"/>
              <a:t>Safe Sleep Surface</a:t>
            </a:r>
          </a:p>
          <a:p>
            <a:r>
              <a:rPr lang="en-US"/>
              <a:t>Room Sharing without Surface Sharing</a:t>
            </a:r>
          </a:p>
          <a:p>
            <a:r>
              <a:rPr lang="en-US"/>
              <a:t>Sleep with a Pacifier</a:t>
            </a:r>
          </a:p>
          <a:p>
            <a:r>
              <a:rPr lang="en-US"/>
              <a:t>Dress for Sleep</a:t>
            </a:r>
          </a:p>
          <a:p>
            <a:r>
              <a:rPr lang="en-US"/>
              <a:t>Caution Use of Commercial Products and Devices</a:t>
            </a:r>
          </a:p>
          <a:p>
            <a:r>
              <a:rPr lang="en-US"/>
              <a:t>Spread the Safe Sleep Message</a:t>
            </a:r>
          </a:p>
        </p:txBody>
      </p:sp>
    </p:spTree>
    <p:extLst>
      <p:ext uri="{BB962C8B-B14F-4D97-AF65-F5344CB8AC3E}">
        <p14:creationId xmlns:p14="http://schemas.microsoft.com/office/powerpoint/2010/main" val="423737468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5842568" y="4307005"/>
            <a:ext cx="5144921" cy="1596587"/>
          </a:xfrm>
          <a:custGeom>
            <a:avLst/>
            <a:gdLst/>
            <a:ahLst/>
            <a:cxnLst/>
            <a:rect l="l" t="t" r="r" b="b"/>
            <a:pathLst>
              <a:path w="7717382" h="2394881">
                <a:moveTo>
                  <a:pt x="0" y="0"/>
                </a:moveTo>
                <a:lnTo>
                  <a:pt x="7717383" y="0"/>
                </a:lnTo>
                <a:lnTo>
                  <a:pt x="7717383" y="2394881"/>
                </a:lnTo>
                <a:lnTo>
                  <a:pt x="0" y="2394881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alphaModFix amt="4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" name="Group 3"/>
          <p:cNvGrpSpPr/>
          <p:nvPr/>
        </p:nvGrpSpPr>
        <p:grpSpPr>
          <a:xfrm>
            <a:off x="5686106" y="4778862"/>
            <a:ext cx="5450071" cy="1482395"/>
            <a:chOff x="0" y="0"/>
            <a:chExt cx="2156186" cy="4289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FFC000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6" name="Freeform 6"/>
          <p:cNvSpPr/>
          <p:nvPr/>
        </p:nvSpPr>
        <p:spPr>
          <a:xfrm>
            <a:off x="5827017" y="2476089"/>
            <a:ext cx="5144921" cy="1596587"/>
          </a:xfrm>
          <a:custGeom>
            <a:avLst/>
            <a:gdLst/>
            <a:ahLst/>
            <a:cxnLst/>
            <a:rect l="l" t="t" r="r" b="b"/>
            <a:pathLst>
              <a:path w="7717382" h="2394881">
                <a:moveTo>
                  <a:pt x="0" y="0"/>
                </a:moveTo>
                <a:lnTo>
                  <a:pt x="7717383" y="0"/>
                </a:lnTo>
                <a:lnTo>
                  <a:pt x="7717383" y="2394881"/>
                </a:lnTo>
                <a:lnTo>
                  <a:pt x="0" y="2394881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alphaModFix amt="4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7" name="Group 7"/>
          <p:cNvGrpSpPr/>
          <p:nvPr/>
        </p:nvGrpSpPr>
        <p:grpSpPr>
          <a:xfrm>
            <a:off x="5678330" y="2778546"/>
            <a:ext cx="5457846" cy="1785639"/>
            <a:chOff x="0" y="0"/>
            <a:chExt cx="2156186" cy="428975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BD429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TextBox 9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19" name="AutoShape 19"/>
          <p:cNvSpPr/>
          <p:nvPr/>
        </p:nvSpPr>
        <p:spPr>
          <a:xfrm flipV="1">
            <a:off x="6777080" y="3339445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20" name="AutoShape 20"/>
          <p:cNvSpPr/>
          <p:nvPr/>
        </p:nvSpPr>
        <p:spPr>
          <a:xfrm flipV="1">
            <a:off x="6668223" y="5173242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21" name="AutoShape 21"/>
          <p:cNvSpPr/>
          <p:nvPr/>
        </p:nvSpPr>
        <p:spPr>
          <a:xfrm>
            <a:off x="5686105" y="809084"/>
            <a:ext cx="1488295" cy="0"/>
          </a:xfrm>
          <a:prstGeom prst="line">
            <a:avLst/>
          </a:prstGeom>
          <a:ln w="3810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22" name="Freeform 22"/>
          <p:cNvSpPr/>
          <p:nvPr/>
        </p:nvSpPr>
        <p:spPr>
          <a:xfrm>
            <a:off x="-846965" y="4892042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0"/>
                </a:moveTo>
                <a:lnTo>
                  <a:pt x="1674224" y="0"/>
                </a:lnTo>
                <a:lnTo>
                  <a:pt x="1674224" y="3639618"/>
                </a:lnTo>
                <a:lnTo>
                  <a:pt x="0" y="3639618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3" name="Freeform 23"/>
          <p:cNvSpPr/>
          <p:nvPr/>
        </p:nvSpPr>
        <p:spPr>
          <a:xfrm flipV="1">
            <a:off x="11549785" y="-576427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3639618"/>
                </a:moveTo>
                <a:lnTo>
                  <a:pt x="1674224" y="3639618"/>
                </a:lnTo>
                <a:lnTo>
                  <a:pt x="1674224" y="0"/>
                </a:lnTo>
                <a:lnTo>
                  <a:pt x="0" y="0"/>
                </a:lnTo>
                <a:lnTo>
                  <a:pt x="0" y="3639618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24" name="Group 24"/>
          <p:cNvGrpSpPr/>
          <p:nvPr/>
        </p:nvGrpSpPr>
        <p:grpSpPr>
          <a:xfrm>
            <a:off x="11377921" y="6168748"/>
            <a:ext cx="1368800" cy="1368800"/>
            <a:chOff x="0" y="0"/>
            <a:chExt cx="812800" cy="812800"/>
          </a:xfrm>
        </p:grpSpPr>
        <p:sp>
          <p:nvSpPr>
            <p:cNvPr id="25" name="Freeform 25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TextBox 26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27" name="Group 27"/>
          <p:cNvGrpSpPr/>
          <p:nvPr/>
        </p:nvGrpSpPr>
        <p:grpSpPr>
          <a:xfrm>
            <a:off x="-415216" y="-654827"/>
            <a:ext cx="1368800" cy="1368800"/>
            <a:chOff x="0" y="0"/>
            <a:chExt cx="812800" cy="812800"/>
          </a:xfrm>
        </p:grpSpPr>
        <p:sp>
          <p:nvSpPr>
            <p:cNvPr id="28" name="Freeform 2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TextBox 29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sp>
        <p:nvSpPr>
          <p:cNvPr id="30" name="Freeform 30"/>
          <p:cNvSpPr/>
          <p:nvPr/>
        </p:nvSpPr>
        <p:spPr>
          <a:xfrm>
            <a:off x="3087435" y="6270053"/>
            <a:ext cx="1227815" cy="385227"/>
          </a:xfrm>
          <a:custGeom>
            <a:avLst/>
            <a:gdLst/>
            <a:ahLst/>
            <a:cxnLst/>
            <a:rect l="l" t="t" r="r" b="b"/>
            <a:pathLst>
              <a:path w="1841723" h="577841">
                <a:moveTo>
                  <a:pt x="0" y="0"/>
                </a:moveTo>
                <a:lnTo>
                  <a:pt x="1841723" y="0"/>
                </a:lnTo>
                <a:lnTo>
                  <a:pt x="1841723" y="577841"/>
                </a:lnTo>
                <a:lnTo>
                  <a:pt x="0" y="577841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1" name="Freeform 31"/>
          <p:cNvSpPr/>
          <p:nvPr/>
        </p:nvSpPr>
        <p:spPr>
          <a:xfrm rot="16200000">
            <a:off x="9841654" y="5245981"/>
            <a:ext cx="1167003" cy="2743200"/>
          </a:xfrm>
          <a:custGeom>
            <a:avLst/>
            <a:gdLst/>
            <a:ahLst/>
            <a:cxnLst/>
            <a:rect l="l" t="t" r="r" b="b"/>
            <a:pathLst>
              <a:path w="1750505" h="4114800">
                <a:moveTo>
                  <a:pt x="0" y="0"/>
                </a:moveTo>
                <a:lnTo>
                  <a:pt x="1750504" y="0"/>
                </a:lnTo>
                <a:lnTo>
                  <a:pt x="1750504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2" name="Freeform 32"/>
          <p:cNvSpPr/>
          <p:nvPr/>
        </p:nvSpPr>
        <p:spPr>
          <a:xfrm rot="16200000">
            <a:off x="5472130" y="-1701101"/>
            <a:ext cx="1167003" cy="2743200"/>
          </a:xfrm>
          <a:custGeom>
            <a:avLst/>
            <a:gdLst/>
            <a:ahLst/>
            <a:cxnLst/>
            <a:rect l="l" t="t" r="r" b="b"/>
            <a:pathLst>
              <a:path w="1750505" h="4114800">
                <a:moveTo>
                  <a:pt x="0" y="0"/>
                </a:moveTo>
                <a:lnTo>
                  <a:pt x="1750505" y="0"/>
                </a:lnTo>
                <a:lnTo>
                  <a:pt x="1750505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3" name="Freeform 33"/>
          <p:cNvSpPr/>
          <p:nvPr/>
        </p:nvSpPr>
        <p:spPr>
          <a:xfrm>
            <a:off x="396776" y="5994227"/>
            <a:ext cx="1566169" cy="732711"/>
          </a:xfrm>
          <a:custGeom>
            <a:avLst/>
            <a:gdLst/>
            <a:ahLst/>
            <a:cxnLst/>
            <a:rect l="l" t="t" r="r" b="b"/>
            <a:pathLst>
              <a:path w="2349253" h="1099066">
                <a:moveTo>
                  <a:pt x="0" y="0"/>
                </a:moveTo>
                <a:lnTo>
                  <a:pt x="2349253" y="0"/>
                </a:lnTo>
                <a:lnTo>
                  <a:pt x="2349253" y="1099066"/>
                </a:lnTo>
                <a:lnTo>
                  <a:pt x="0" y="1099066"/>
                </a:lnTo>
                <a:lnTo>
                  <a:pt x="0" y="0"/>
                </a:lnTo>
                <a:close/>
              </a:path>
            </a:pathLst>
          </a:custGeom>
          <a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4" name="TextBox 34"/>
          <p:cNvSpPr txBox="1"/>
          <p:nvPr/>
        </p:nvSpPr>
        <p:spPr>
          <a:xfrm>
            <a:off x="730288" y="634437"/>
            <a:ext cx="4632329" cy="185717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733"/>
              </a:lnSpc>
            </a:pPr>
            <a:r>
              <a:rPr lang="en-US" sz="2666" spc="111">
                <a:solidFill>
                  <a:srgbClr val="000000"/>
                </a:solidFill>
                <a:latin typeface="Barlow Bold"/>
              </a:rPr>
              <a:t>DRIVER 1: </a:t>
            </a:r>
          </a:p>
          <a:p>
            <a:pPr>
              <a:lnSpc>
                <a:spcPts val="3733"/>
              </a:lnSpc>
            </a:pPr>
            <a:r>
              <a:rPr lang="en-US" sz="2666" spc="111">
                <a:solidFill>
                  <a:srgbClr val="000000"/>
                </a:solidFill>
                <a:latin typeface="Barlow Bold"/>
              </a:rPr>
              <a:t>HEALTHCARE PROFESSIONAL COMMITMENT​</a:t>
            </a:r>
          </a:p>
        </p:txBody>
      </p:sp>
      <p:sp>
        <p:nvSpPr>
          <p:cNvPr id="38" name="Freeform 38"/>
          <p:cNvSpPr/>
          <p:nvPr/>
        </p:nvSpPr>
        <p:spPr>
          <a:xfrm>
            <a:off x="3376180" y="930561"/>
            <a:ext cx="1242138" cy="1438075"/>
          </a:xfrm>
          <a:custGeom>
            <a:avLst/>
            <a:gdLst/>
            <a:ahLst/>
            <a:cxnLst/>
            <a:rect l="l" t="t" r="r" b="b"/>
            <a:pathLst>
              <a:path w="1863207" h="2157113">
                <a:moveTo>
                  <a:pt x="0" y="0"/>
                </a:moveTo>
                <a:lnTo>
                  <a:pt x="1863206" y="0"/>
                </a:lnTo>
                <a:lnTo>
                  <a:pt x="1863206" y="2157113"/>
                </a:lnTo>
                <a:lnTo>
                  <a:pt x="0" y="2157113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9" name="Group 39"/>
          <p:cNvGrpSpPr/>
          <p:nvPr/>
        </p:nvGrpSpPr>
        <p:grpSpPr>
          <a:xfrm>
            <a:off x="471488" y="2773202"/>
            <a:ext cx="3787056" cy="1387588"/>
            <a:chOff x="0" y="0"/>
            <a:chExt cx="1290616" cy="472885"/>
          </a:xfrm>
        </p:grpSpPr>
        <p:sp>
          <p:nvSpPr>
            <p:cNvPr id="40" name="Freeform 40"/>
            <p:cNvSpPr/>
            <p:nvPr/>
          </p:nvSpPr>
          <p:spPr>
            <a:xfrm>
              <a:off x="0" y="0"/>
              <a:ext cx="1290616" cy="472885"/>
            </a:xfrm>
            <a:custGeom>
              <a:avLst/>
              <a:gdLst/>
              <a:ahLst/>
              <a:cxnLst/>
              <a:rect l="l" t="t" r="r" b="b"/>
              <a:pathLst>
                <a:path w="1290616" h="472885">
                  <a:moveTo>
                    <a:pt x="27257" y="0"/>
                  </a:moveTo>
                  <a:lnTo>
                    <a:pt x="1263358" y="0"/>
                  </a:lnTo>
                  <a:cubicBezTo>
                    <a:pt x="1270587" y="0"/>
                    <a:pt x="1277520" y="2872"/>
                    <a:pt x="1282632" y="7984"/>
                  </a:cubicBezTo>
                  <a:cubicBezTo>
                    <a:pt x="1287744" y="13095"/>
                    <a:pt x="1290616" y="20028"/>
                    <a:pt x="1290616" y="27257"/>
                  </a:cubicBezTo>
                  <a:lnTo>
                    <a:pt x="1290616" y="445628"/>
                  </a:lnTo>
                  <a:cubicBezTo>
                    <a:pt x="1290616" y="460682"/>
                    <a:pt x="1278412" y="472885"/>
                    <a:pt x="1263358" y="472885"/>
                  </a:cubicBezTo>
                  <a:lnTo>
                    <a:pt x="27257" y="472885"/>
                  </a:lnTo>
                  <a:cubicBezTo>
                    <a:pt x="12204" y="472885"/>
                    <a:pt x="0" y="460682"/>
                    <a:pt x="0" y="445628"/>
                  </a:cubicBezTo>
                  <a:lnTo>
                    <a:pt x="0" y="27257"/>
                  </a:lnTo>
                  <a:cubicBezTo>
                    <a:pt x="0" y="12204"/>
                    <a:pt x="12204" y="0"/>
                    <a:pt x="27257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BD4291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TextBox 41"/>
            <p:cNvSpPr txBox="1"/>
            <p:nvPr/>
          </p:nvSpPr>
          <p:spPr>
            <a:xfrm>
              <a:off x="0" y="-38100"/>
              <a:ext cx="1290616" cy="51098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43" name="Group 43"/>
          <p:cNvGrpSpPr/>
          <p:nvPr/>
        </p:nvGrpSpPr>
        <p:grpSpPr>
          <a:xfrm>
            <a:off x="5670555" y="1114144"/>
            <a:ext cx="5457846" cy="1521272"/>
            <a:chOff x="0" y="0"/>
            <a:chExt cx="2156186" cy="428975"/>
          </a:xfrm>
        </p:grpSpPr>
        <p:sp>
          <p:nvSpPr>
            <p:cNvPr id="44" name="Freeform 44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4373A4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TextBox 45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46" name="AutoShape 46"/>
          <p:cNvSpPr/>
          <p:nvPr/>
        </p:nvSpPr>
        <p:spPr>
          <a:xfrm flipV="1">
            <a:off x="6774229" y="1585610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8" name="Freeform 48"/>
          <p:cNvSpPr/>
          <p:nvPr/>
        </p:nvSpPr>
        <p:spPr>
          <a:xfrm>
            <a:off x="5723617" y="1586297"/>
            <a:ext cx="897608" cy="615983"/>
          </a:xfrm>
          <a:custGeom>
            <a:avLst/>
            <a:gdLst/>
            <a:ahLst/>
            <a:cxnLst/>
            <a:rect l="l" t="t" r="r" b="b"/>
            <a:pathLst>
              <a:path w="1346412" h="923975">
                <a:moveTo>
                  <a:pt x="0" y="0"/>
                </a:moveTo>
                <a:lnTo>
                  <a:pt x="1346412" y="0"/>
                </a:lnTo>
                <a:lnTo>
                  <a:pt x="1346412" y="923975"/>
                </a:lnTo>
                <a:lnTo>
                  <a:pt x="0" y="923975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9" name="Freeform 49"/>
          <p:cNvSpPr/>
          <p:nvPr/>
        </p:nvSpPr>
        <p:spPr>
          <a:xfrm>
            <a:off x="5794282" y="3086740"/>
            <a:ext cx="909866" cy="928211"/>
          </a:xfrm>
          <a:custGeom>
            <a:avLst/>
            <a:gdLst/>
            <a:ahLst/>
            <a:cxnLst/>
            <a:rect l="l" t="t" r="r" b="b"/>
            <a:pathLst>
              <a:path w="1073218" h="1100736">
                <a:moveTo>
                  <a:pt x="0" y="0"/>
                </a:moveTo>
                <a:lnTo>
                  <a:pt x="1073218" y="0"/>
                </a:lnTo>
                <a:lnTo>
                  <a:pt x="1073218" y="1100736"/>
                </a:lnTo>
                <a:lnTo>
                  <a:pt x="0" y="1100736"/>
                </a:lnTo>
                <a:lnTo>
                  <a:pt x="0" y="0"/>
                </a:lnTo>
                <a:close/>
              </a:path>
            </a:pathLst>
          </a:custGeom>
          <a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0" name="Freeform 50"/>
          <p:cNvSpPr/>
          <p:nvPr/>
        </p:nvSpPr>
        <p:spPr>
          <a:xfrm>
            <a:off x="5725276" y="4967018"/>
            <a:ext cx="940945" cy="935974"/>
          </a:xfrm>
          <a:custGeom>
            <a:avLst/>
            <a:gdLst/>
            <a:ahLst/>
            <a:cxnLst/>
            <a:rect l="l" t="t" r="r" b="b"/>
            <a:pathLst>
              <a:path w="898235" h="1205685">
                <a:moveTo>
                  <a:pt x="0" y="0"/>
                </a:moveTo>
                <a:lnTo>
                  <a:pt x="898235" y="0"/>
                </a:lnTo>
                <a:lnTo>
                  <a:pt x="898235" y="1205685"/>
                </a:lnTo>
                <a:lnTo>
                  <a:pt x="0" y="1205685"/>
                </a:lnTo>
                <a:lnTo>
                  <a:pt x="0" y="0"/>
                </a:lnTo>
                <a:close/>
              </a:path>
            </a:pathLst>
          </a:custGeom>
          <a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3" name="TextBox 53"/>
          <p:cNvSpPr txBox="1"/>
          <p:nvPr/>
        </p:nvSpPr>
        <p:spPr>
          <a:xfrm>
            <a:off x="6910885" y="1285318"/>
            <a:ext cx="4080559" cy="122334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b="1" spc="43">
                <a:solidFill>
                  <a:srgbClr val="FFFFFF"/>
                </a:solidFill>
                <a:latin typeface="DM Sans"/>
              </a:rPr>
              <a:t>Educate providers, nurses, and other staff about the importance of a safe sleep environment for every sleep during hospitalization and at home  </a:t>
            </a:r>
            <a:endParaRPr lang="en-US" spc="43">
              <a:solidFill>
                <a:srgbClr val="FFFFFF"/>
              </a:solidFill>
              <a:latin typeface="DM Sans"/>
            </a:endParaRPr>
          </a:p>
        </p:txBody>
      </p:sp>
      <p:sp>
        <p:nvSpPr>
          <p:cNvPr id="54" name="TextBox 54"/>
          <p:cNvSpPr txBox="1"/>
          <p:nvPr/>
        </p:nvSpPr>
        <p:spPr>
          <a:xfrm>
            <a:off x="6895802" y="5013778"/>
            <a:ext cx="4094597" cy="9746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b="1" spc="43">
                <a:solidFill>
                  <a:srgbClr val="FFFFFF"/>
                </a:solidFill>
                <a:latin typeface="DM Sans"/>
              </a:rPr>
              <a:t>Endorse and model a safe sleep environment for every sleep during the hospitalization, including correcting unsafe behaviors  </a:t>
            </a:r>
            <a:endParaRPr lang="en-US" spc="43">
              <a:solidFill>
                <a:srgbClr val="FFFFFF"/>
              </a:solidFill>
              <a:latin typeface="DM Sans"/>
            </a:endParaRPr>
          </a:p>
        </p:txBody>
      </p:sp>
      <p:sp>
        <p:nvSpPr>
          <p:cNvPr id="56" name="TextBox 56"/>
          <p:cNvSpPr txBox="1"/>
          <p:nvPr/>
        </p:nvSpPr>
        <p:spPr>
          <a:xfrm>
            <a:off x="471488" y="3030116"/>
            <a:ext cx="3787056" cy="82997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600" spc="51">
                <a:solidFill>
                  <a:srgbClr val="000000"/>
                </a:solidFill>
                <a:latin typeface="DM Sans"/>
              </a:rPr>
              <a:t>Secondary Driver 2: Safe Sleep Environment Education and Implementation</a:t>
            </a:r>
          </a:p>
        </p:txBody>
      </p:sp>
      <p:sp>
        <p:nvSpPr>
          <p:cNvPr id="57" name="TextBox 57"/>
          <p:cNvSpPr txBox="1"/>
          <p:nvPr/>
        </p:nvSpPr>
        <p:spPr>
          <a:xfrm>
            <a:off x="6898401" y="2855716"/>
            <a:ext cx="4006858" cy="17106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b="1" spc="43">
                <a:solidFill>
                  <a:srgbClr val="FFFFFF"/>
                </a:solidFill>
                <a:latin typeface="DM Sans"/>
              </a:rPr>
              <a:t>Encourage meaningful, culturally appropriate, respectful, nonjudgmental conversations between providers, nurses, and other staff and parents and caregivers about a safe sleep environment </a:t>
            </a:r>
            <a:endParaRPr lang="en-US" spc="43">
              <a:solidFill>
                <a:srgbClr val="FFFFFF"/>
              </a:solidFill>
              <a:latin typeface="DM Sans"/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0780975F-40AC-4431-7277-8634D267BA1E}"/>
              </a:ext>
            </a:extLst>
          </p:cNvPr>
          <p:cNvCxnSpPr>
            <a:cxnSpLocks/>
          </p:cNvCxnSpPr>
          <p:nvPr/>
        </p:nvCxnSpPr>
        <p:spPr>
          <a:xfrm>
            <a:off x="4234848" y="3333893"/>
            <a:ext cx="1403405" cy="2170504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E6E294E1-60D1-93D5-F703-4C8CA9125137}"/>
              </a:ext>
            </a:extLst>
          </p:cNvPr>
          <p:cNvCxnSpPr>
            <a:cxnSpLocks/>
          </p:cNvCxnSpPr>
          <p:nvPr/>
        </p:nvCxnSpPr>
        <p:spPr>
          <a:xfrm>
            <a:off x="4261584" y="3373997"/>
            <a:ext cx="1443451" cy="13451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533F86FB-67E8-46C0-0C13-6B8ABD7D4C87}"/>
              </a:ext>
            </a:extLst>
          </p:cNvPr>
          <p:cNvCxnSpPr>
            <a:cxnSpLocks/>
          </p:cNvCxnSpPr>
          <p:nvPr/>
        </p:nvCxnSpPr>
        <p:spPr>
          <a:xfrm flipV="1">
            <a:off x="4234847" y="1918914"/>
            <a:ext cx="1435567" cy="1460048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CE06DA76-2516-7530-74D6-38D1B1FC6BFE}"/>
              </a:ext>
            </a:extLst>
          </p:cNvPr>
          <p:cNvSpPr txBox="1"/>
          <p:nvPr/>
        </p:nvSpPr>
        <p:spPr>
          <a:xfrm>
            <a:off x="7545294" y="1116176"/>
            <a:ext cx="2667520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n-US" sz="2200" b="1">
              <a:latin typeface="Arial"/>
              <a:ea typeface="MS PGothic"/>
              <a:cs typeface="Arial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8CD4543-B35F-C7BE-C5DB-7DF0067C551A}"/>
              </a:ext>
            </a:extLst>
          </p:cNvPr>
          <p:cNvSpPr txBox="1"/>
          <p:nvPr/>
        </p:nvSpPr>
        <p:spPr>
          <a:xfrm>
            <a:off x="7318154" y="244405"/>
            <a:ext cx="266752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b="1">
                <a:latin typeface="DM Sans"/>
                <a:ea typeface="MS PGothic"/>
                <a:cs typeface="Arial"/>
              </a:rPr>
              <a:t>Change Ideas</a:t>
            </a:r>
          </a:p>
        </p:txBody>
      </p:sp>
    </p:spTree>
    <p:extLst>
      <p:ext uri="{BB962C8B-B14F-4D97-AF65-F5344CB8AC3E}">
        <p14:creationId xmlns:p14="http://schemas.microsoft.com/office/powerpoint/2010/main" val="19865466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ey and purple wavy lines&#10;&#10;Description automatically generated">
            <a:extLst>
              <a:ext uri="{FF2B5EF4-FFF2-40B4-BE49-F238E27FC236}">
                <a16:creationId xmlns:a16="http://schemas.microsoft.com/office/drawing/2014/main" id="{98A984B5-36FC-40B0-3A96-C4A53F4B7EF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398" y="2380"/>
            <a:ext cx="12199775" cy="6861016"/>
          </a:xfrm>
          <a:prstGeom prst="rect">
            <a:avLst/>
          </a:prstGeom>
          <a:ln>
            <a:noFill/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3F72E593-D6E8-770D-C8DB-30E6DD6C10D3}"/>
              </a:ext>
            </a:extLst>
          </p:cNvPr>
          <p:cNvSpPr txBox="1">
            <a:spLocks/>
          </p:cNvSpPr>
          <p:nvPr/>
        </p:nvSpPr>
        <p:spPr>
          <a:xfrm>
            <a:off x="2051299" y="362427"/>
            <a:ext cx="7640293" cy="568037"/>
          </a:xfrm>
          <a:prstGeom prst="rect">
            <a:avLst/>
          </a:prstGeom>
          <a:solidFill>
            <a:schemeClr val="bg1"/>
          </a:solidFill>
          <a:ln>
            <a:solidFill>
              <a:srgbClr val="1C498B"/>
            </a:solidFill>
          </a:ln>
        </p:spPr>
        <p:txBody>
          <a:bodyPr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4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What about Safe Sleep in the NICU?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784F648-BD44-7164-AF55-EE536DF40028}"/>
              </a:ext>
            </a:extLst>
          </p:cNvPr>
          <p:cNvSpPr txBox="1">
            <a:spLocks/>
          </p:cNvSpPr>
          <p:nvPr/>
        </p:nvSpPr>
        <p:spPr>
          <a:xfrm>
            <a:off x="624280" y="1283754"/>
            <a:ext cx="10944601" cy="4038601"/>
          </a:xfrm>
          <a:prstGeom prst="rect">
            <a:avLst/>
          </a:prstGeom>
          <a:solidFill>
            <a:schemeClr val="bg1"/>
          </a:solidFill>
          <a:ln>
            <a:solidFill>
              <a:srgbClr val="1C498B"/>
            </a:solidFill>
          </a:ln>
        </p:spPr>
        <p:txBody>
          <a:bodyPr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lnSpc>
                <a:spcPct val="150000"/>
              </a:lnSpc>
              <a:buFont typeface="Arial"/>
              <a:buChar char="•"/>
            </a:pPr>
            <a:r>
              <a:rPr lang="en-US" sz="2000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Studies have shown that NICU providers do not consistently support infant sleep safety recommendations (</a:t>
            </a:r>
            <a:r>
              <a:rPr lang="en-US" sz="2000" err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Barsman</a:t>
            </a:r>
            <a:r>
              <a:rPr lang="en-US" sz="2000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, 2015)   </a:t>
            </a:r>
            <a:endParaRPr lang="en-US" sz="2000">
              <a:solidFill>
                <a:srgbClr val="1C498B"/>
              </a:solidFill>
              <a:latin typeface="DM Sans"/>
              <a:ea typeface="+mj-lt"/>
              <a:cs typeface="+mj-lt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>
                <a:solidFill>
                  <a:srgbClr val="1C498B"/>
                </a:solidFill>
                <a:latin typeface="DM Sans"/>
                <a:ea typeface="+mj-lt"/>
                <a:cs typeface="+mj-lt"/>
              </a:rPr>
              <a:t>Endorsing safe sleeping guidelines with parents of infants from the time of admission to the NICU can have a significant influence on safe sleep messaging for parents of NICU babies.</a:t>
            </a:r>
            <a:endParaRPr lang="en-US" sz="2000">
              <a:solidFill>
                <a:srgbClr val="1C498B"/>
              </a:solidFill>
              <a:latin typeface="DM Sans"/>
              <a:ea typeface="Lato Medium"/>
              <a:cs typeface="Lato Medium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Additional Education for NICU Providers: </a:t>
            </a:r>
            <a:r>
              <a:rPr lang="en-US" sz="2000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Read </a:t>
            </a:r>
            <a:r>
              <a:rPr lang="en-US" sz="2000">
                <a:solidFill>
                  <a:srgbClr val="1C498B"/>
                </a:solidFill>
                <a:latin typeface="DM Sans"/>
                <a:ea typeface="Lato Medium"/>
                <a:cs typeface="Lato Medium"/>
                <a:hlinkClick r:id="rId4"/>
              </a:rPr>
              <a:t>Transition to a Safe Sleep Environment for the NICU Patient</a:t>
            </a:r>
            <a:r>
              <a:rPr lang="en-US" sz="2000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  and </a:t>
            </a:r>
            <a:r>
              <a:rPr lang="en-US" sz="2000">
                <a:solidFill>
                  <a:srgbClr val="1C498B"/>
                </a:solidFill>
                <a:latin typeface="DM Sans"/>
                <a:ea typeface="Lato Medium"/>
                <a:cs typeface="Lato Medium"/>
                <a:hlinkClick r:id="rId5"/>
              </a:rPr>
              <a:t>Transition to Safe Sleep at Home Needs a Consistent Approach for NICU Babies and Their Parents</a:t>
            </a:r>
            <a:endParaRPr lang="en-US" sz="2000">
              <a:solidFill>
                <a:srgbClr val="1C498B"/>
              </a:solidFill>
              <a:latin typeface="DM Sans"/>
              <a:ea typeface="Lato Medium"/>
              <a:cs typeface="Lato Medium"/>
            </a:endParaRPr>
          </a:p>
        </p:txBody>
      </p:sp>
    </p:spTree>
    <p:extLst>
      <p:ext uri="{BB962C8B-B14F-4D97-AF65-F5344CB8AC3E}">
        <p14:creationId xmlns:p14="http://schemas.microsoft.com/office/powerpoint/2010/main" val="126512260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nline Media 1" title="Safe Sleep - From NICU to Home">
            <a:hlinkClick r:id="" action="ppaction://media"/>
            <a:extLst>
              <a:ext uri="{FF2B5EF4-FFF2-40B4-BE49-F238E27FC236}">
                <a16:creationId xmlns:a16="http://schemas.microsoft.com/office/drawing/2014/main" id="{0BCE6E69-DA92-ADCE-EC78-525079BAF086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4"/>
          <a:stretch>
            <a:fillRect/>
          </a:stretch>
        </p:blipFill>
        <p:spPr>
          <a:xfrm>
            <a:off x="1241426" y="974324"/>
            <a:ext cx="9710738" cy="54864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15ED291A-7BFC-E240-C4C8-AE903B5D0500}"/>
              </a:ext>
            </a:extLst>
          </p:cNvPr>
          <p:cNvSpPr txBox="1">
            <a:spLocks/>
          </p:cNvSpPr>
          <p:nvPr/>
        </p:nvSpPr>
        <p:spPr>
          <a:xfrm>
            <a:off x="2273240" y="266658"/>
            <a:ext cx="7640293" cy="568037"/>
          </a:xfrm>
          <a:prstGeom prst="rect">
            <a:avLst/>
          </a:prstGeom>
          <a:solidFill>
            <a:schemeClr val="bg1"/>
          </a:solidFill>
          <a:ln>
            <a:solidFill>
              <a:srgbClr val="1C498B"/>
            </a:solidFill>
          </a:ln>
        </p:spPr>
        <p:txBody>
          <a:bodyPr lIns="91440" tIns="45720" rIns="91440" bIns="45720" anchor="t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4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Transitioning from the NICU to Home</a:t>
            </a:r>
          </a:p>
        </p:txBody>
      </p:sp>
    </p:spTree>
    <p:extLst>
      <p:ext uri="{BB962C8B-B14F-4D97-AF65-F5344CB8AC3E}">
        <p14:creationId xmlns:p14="http://schemas.microsoft.com/office/powerpoint/2010/main" val="41546889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605789" y="456520"/>
            <a:ext cx="8229600" cy="1143000"/>
          </a:xfrm>
          <a:noFill/>
        </p:spPr>
        <p:txBody>
          <a:bodyPr>
            <a:normAutofit/>
          </a:bodyPr>
          <a:lstStyle/>
          <a:p>
            <a:r>
              <a:rPr lang="en-US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Overview</a:t>
            </a:r>
          </a:p>
        </p:txBody>
      </p:sp>
      <p:sp>
        <p:nvSpPr>
          <p:cNvPr id="16387" name="Content Placeholder 3"/>
          <p:cNvSpPr>
            <a:spLocks noGrp="1"/>
          </p:cNvSpPr>
          <p:nvPr>
            <p:ph idx="1"/>
          </p:nvPr>
        </p:nvSpPr>
        <p:spPr>
          <a:xfrm>
            <a:off x="504159" y="1720370"/>
            <a:ext cx="7489719" cy="4948346"/>
          </a:xfrm>
        </p:spPr>
        <p:txBody>
          <a:bodyPr vert="horz" lIns="91440" tIns="45720" rIns="91440" bIns="45720" rtlCol="0" anchor="t">
            <a:normAutofit/>
          </a:bodyPr>
          <a:lstStyle/>
          <a:p>
            <a:endParaRPr lang="en-US" altLang="en-US" sz="2800"/>
          </a:p>
          <a:p>
            <a:pPr>
              <a:buClr>
                <a:srgbClr val="F5668F"/>
              </a:buClr>
            </a:pPr>
            <a:endParaRPr lang="en-US" altLang="en-US" sz="2800"/>
          </a:p>
          <a:p>
            <a:pPr>
              <a:buClr>
                <a:srgbClr val="F5668F"/>
              </a:buClr>
            </a:pPr>
            <a:endParaRPr lang="en-US" altLang="en-US" sz="2200"/>
          </a:p>
          <a:p>
            <a:pPr>
              <a:buClr>
                <a:srgbClr val="F5668F"/>
              </a:buClr>
            </a:pPr>
            <a:endParaRPr lang="en-US" altLang="en-US" sz="2200"/>
          </a:p>
          <a:p>
            <a:pPr marL="457200" lvl="1" indent="0">
              <a:buClr>
                <a:srgbClr val="004990"/>
              </a:buClr>
              <a:buNone/>
            </a:pPr>
            <a:endParaRPr lang="en-US" altLang="en-US" sz="2200"/>
          </a:p>
          <a:p>
            <a:pPr>
              <a:buClr>
                <a:srgbClr val="F5668F"/>
              </a:buClr>
            </a:pPr>
            <a:endParaRPr lang="en-US" alt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B9DA9E4-8E57-D07F-2A71-1A5B61A0F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2BF6A44-9F85-5CD9-CFDD-619DFCC5DAE3}"/>
              </a:ext>
            </a:extLst>
          </p:cNvPr>
          <p:cNvSpPr txBox="1">
            <a:spLocks/>
          </p:cNvSpPr>
          <p:nvPr/>
        </p:nvSpPr>
        <p:spPr>
          <a:xfrm>
            <a:off x="654616" y="1592862"/>
            <a:ext cx="10434221" cy="392466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400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2024 Face-to-Face Meeting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400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ESSI Aims and Measures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400" b="1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Healthcare Professional Education: Safe Sleep Environment Education and Implementation  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400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Upcoming Opportunities of Interest to ESSI Teams</a:t>
            </a:r>
          </a:p>
          <a:p>
            <a:pPr marL="742950" lvl="1" indent="-285750">
              <a:spcBef>
                <a:spcPts val="500"/>
              </a:spcBef>
              <a:spcAft>
                <a:spcPts val="1000"/>
              </a:spcAft>
              <a:buFont typeface="Courier New,monospace"/>
              <a:buChar char="o"/>
            </a:pPr>
            <a:endParaRPr lang="en-US" sz="2000">
              <a:latin typeface="Arial"/>
              <a:ea typeface="Lato Medium"/>
              <a:cs typeface="Arial"/>
            </a:endParaRPr>
          </a:p>
        </p:txBody>
      </p:sp>
      <p:grpSp>
        <p:nvGrpSpPr>
          <p:cNvPr id="7" name="Group 27">
            <a:extLst>
              <a:ext uri="{FF2B5EF4-FFF2-40B4-BE49-F238E27FC236}">
                <a16:creationId xmlns:a16="http://schemas.microsoft.com/office/drawing/2014/main" id="{E2176F69-6A90-79BF-BE1A-647EEC25E5B6}"/>
              </a:ext>
            </a:extLst>
          </p:cNvPr>
          <p:cNvGrpSpPr/>
          <p:nvPr/>
        </p:nvGrpSpPr>
        <p:grpSpPr>
          <a:xfrm>
            <a:off x="-415216" y="-654827"/>
            <a:ext cx="1368800" cy="1368800"/>
            <a:chOff x="0" y="0"/>
            <a:chExt cx="812800" cy="812800"/>
          </a:xfrm>
        </p:grpSpPr>
        <p:sp>
          <p:nvSpPr>
            <p:cNvPr id="5" name="Freeform 28">
              <a:extLst>
                <a:ext uri="{FF2B5EF4-FFF2-40B4-BE49-F238E27FC236}">
                  <a16:creationId xmlns:a16="http://schemas.microsoft.com/office/drawing/2014/main" id="{293A4BD0-ADF6-D907-7D01-9A0EC913C33B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" name="TextBox 29">
              <a:extLst>
                <a:ext uri="{FF2B5EF4-FFF2-40B4-BE49-F238E27FC236}">
                  <a16:creationId xmlns:a16="http://schemas.microsoft.com/office/drawing/2014/main" id="{D6B07960-BA62-1FF2-41F2-10CDCFC99DF9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8" name="Group 27">
            <a:extLst>
              <a:ext uri="{FF2B5EF4-FFF2-40B4-BE49-F238E27FC236}">
                <a16:creationId xmlns:a16="http://schemas.microsoft.com/office/drawing/2014/main" id="{EAB6171E-B389-19EF-475C-7DFC8285AD27}"/>
              </a:ext>
            </a:extLst>
          </p:cNvPr>
          <p:cNvGrpSpPr/>
          <p:nvPr/>
        </p:nvGrpSpPr>
        <p:grpSpPr>
          <a:xfrm>
            <a:off x="9609154" y="906164"/>
            <a:ext cx="1368800" cy="1368800"/>
            <a:chOff x="0" y="0"/>
            <a:chExt cx="812800" cy="812800"/>
          </a:xfrm>
        </p:grpSpPr>
        <p:sp>
          <p:nvSpPr>
            <p:cNvPr id="9" name="Freeform 28">
              <a:extLst>
                <a:ext uri="{FF2B5EF4-FFF2-40B4-BE49-F238E27FC236}">
                  <a16:creationId xmlns:a16="http://schemas.microsoft.com/office/drawing/2014/main" id="{CC9F8EAA-EC69-50AE-9585-3DE094AE2F30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TextBox 29">
              <a:extLst>
                <a:ext uri="{FF2B5EF4-FFF2-40B4-BE49-F238E27FC236}">
                  <a16:creationId xmlns:a16="http://schemas.microsoft.com/office/drawing/2014/main" id="{48DF3E86-0462-C737-A26E-7B5C3372F5C4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11" name="Group 27">
            <a:extLst>
              <a:ext uri="{FF2B5EF4-FFF2-40B4-BE49-F238E27FC236}">
                <a16:creationId xmlns:a16="http://schemas.microsoft.com/office/drawing/2014/main" id="{C636D4D3-6E50-71B8-4C52-AB0F011B5518}"/>
              </a:ext>
            </a:extLst>
          </p:cNvPr>
          <p:cNvGrpSpPr/>
          <p:nvPr/>
        </p:nvGrpSpPr>
        <p:grpSpPr>
          <a:xfrm>
            <a:off x="1212358" y="5130455"/>
            <a:ext cx="1368800" cy="1368800"/>
            <a:chOff x="0" y="0"/>
            <a:chExt cx="812800" cy="812800"/>
          </a:xfrm>
        </p:grpSpPr>
        <p:sp>
          <p:nvSpPr>
            <p:cNvPr id="12" name="Freeform 28">
              <a:extLst>
                <a:ext uri="{FF2B5EF4-FFF2-40B4-BE49-F238E27FC236}">
                  <a16:creationId xmlns:a16="http://schemas.microsoft.com/office/drawing/2014/main" id="{D6BAEE9A-1F1D-1843-864B-32552986B52F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TextBox 29">
              <a:extLst>
                <a:ext uri="{FF2B5EF4-FFF2-40B4-BE49-F238E27FC236}">
                  <a16:creationId xmlns:a16="http://schemas.microsoft.com/office/drawing/2014/main" id="{B9B7469D-5A82-4F91-36EF-5918948D6DDF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14" name="Group 27">
            <a:extLst>
              <a:ext uri="{FF2B5EF4-FFF2-40B4-BE49-F238E27FC236}">
                <a16:creationId xmlns:a16="http://schemas.microsoft.com/office/drawing/2014/main" id="{2DF12F63-3431-2654-C666-E4B652452F80}"/>
              </a:ext>
            </a:extLst>
          </p:cNvPr>
          <p:cNvGrpSpPr/>
          <p:nvPr/>
        </p:nvGrpSpPr>
        <p:grpSpPr>
          <a:xfrm>
            <a:off x="11281115" y="5818474"/>
            <a:ext cx="1368800" cy="1368800"/>
            <a:chOff x="0" y="0"/>
            <a:chExt cx="812800" cy="812800"/>
          </a:xfrm>
        </p:grpSpPr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16305E8F-6DF3-2D08-8BEF-A689BDE654F3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TextBox 29">
              <a:extLst>
                <a:ext uri="{FF2B5EF4-FFF2-40B4-BE49-F238E27FC236}">
                  <a16:creationId xmlns:a16="http://schemas.microsoft.com/office/drawing/2014/main" id="{54C6D955-875D-85C4-889E-D42517C6668E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</p:spTree>
    <p:extLst>
      <p:ext uri="{BB962C8B-B14F-4D97-AF65-F5344CB8AC3E}">
        <p14:creationId xmlns:p14="http://schemas.microsoft.com/office/powerpoint/2010/main" val="404469106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1CD81A2A-6ED4-4EF4-A14C-912D31E148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411FA15-35DE-2851-E67A-B91C40B2E43C}"/>
              </a:ext>
            </a:extLst>
          </p:cNvPr>
          <p:cNvSpPr txBox="1">
            <a:spLocks/>
          </p:cNvSpPr>
          <p:nvPr/>
        </p:nvSpPr>
        <p:spPr>
          <a:xfrm>
            <a:off x="275948" y="254154"/>
            <a:ext cx="6214545" cy="13625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b="1" kern="1200">
                <a:solidFill>
                  <a:srgbClr val="1C498B"/>
                </a:solidFill>
                <a:latin typeface="+mj-lt"/>
                <a:ea typeface="+mj-ea"/>
                <a:cs typeface="+mj-cs"/>
              </a:rPr>
              <a:t>Safe Sleep Algorithms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661932C-CA15-4E17-B115-FAE7CBEE47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198657" y="1"/>
            <a:ext cx="1155142" cy="625027"/>
          </a:xfrm>
          <a:custGeom>
            <a:avLst/>
            <a:gdLst>
              <a:gd name="connsiteX0" fmla="*/ 4784 w 1155142"/>
              <a:gd name="connsiteY0" fmla="*/ 0 h 625027"/>
              <a:gd name="connsiteX1" fmla="*/ 1150358 w 1155142"/>
              <a:gd name="connsiteY1" fmla="*/ 0 h 625027"/>
              <a:gd name="connsiteX2" fmla="*/ 1155142 w 1155142"/>
              <a:gd name="connsiteY2" fmla="*/ 47456 h 625027"/>
              <a:gd name="connsiteX3" fmla="*/ 577571 w 1155142"/>
              <a:gd name="connsiteY3" fmla="*/ 625027 h 625027"/>
              <a:gd name="connsiteX4" fmla="*/ 0 w 1155142"/>
              <a:gd name="connsiteY4" fmla="*/ 47456 h 625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5142" h="625027">
                <a:moveTo>
                  <a:pt x="4784" y="0"/>
                </a:moveTo>
                <a:lnTo>
                  <a:pt x="1150358" y="0"/>
                </a:lnTo>
                <a:lnTo>
                  <a:pt x="1155142" y="47456"/>
                </a:lnTo>
                <a:cubicBezTo>
                  <a:pt x="1155142" y="366440"/>
                  <a:pt x="896555" y="625027"/>
                  <a:pt x="577571" y="625027"/>
                </a:cubicBezTo>
                <a:cubicBezTo>
                  <a:pt x="258587" y="625027"/>
                  <a:pt x="0" y="366440"/>
                  <a:pt x="0" y="47456"/>
                </a:cubicBezTo>
                <a:close/>
              </a:path>
            </a:pathLst>
          </a:custGeom>
          <a:solidFill>
            <a:schemeClr val="accent5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A3921FF-3955-8B65-DBE4-0458C15436D6}"/>
              </a:ext>
            </a:extLst>
          </p:cNvPr>
          <p:cNvSpPr txBox="1"/>
          <p:nvPr/>
        </p:nvSpPr>
        <p:spPr>
          <a:xfrm>
            <a:off x="312938" y="1396538"/>
            <a:ext cx="5933418" cy="5054153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marL="285750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900"/>
              <a:t>In a 2006 survey of 252 NICU nurses, nurses surveyed were inconsistent regarding how they determined when a preterm infant is ready to sleep supine. </a:t>
            </a:r>
          </a:p>
          <a:p>
            <a:pPr marL="742950" lvl="1" indent="-2286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900"/>
              <a:t>Answers included close to discharge (13%), when maintaining their body temperature in an open crib (25%), PMA of 34 to 36 weeks (15%), PMA ≥37 weeks (13%), and when the infant’s respiratory status was stable (6%). </a:t>
            </a:r>
            <a:r>
              <a:rPr lang="en-US" sz="1900" b="1"/>
              <a:t>There is a clear need for a standardized process for determining when to practice sleep. </a:t>
            </a:r>
          </a:p>
          <a:p>
            <a:pPr marL="285750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900"/>
              <a:t>The AAP states the following, </a:t>
            </a:r>
            <a:r>
              <a:rPr lang="en-US" sz="1900" i="1"/>
              <a:t>"The NICU should use an algorithm for routine and repeated evaluation of each infant for safe home sleep readiness. Some safe sleep practices may be added incrementally."  </a:t>
            </a:r>
          </a:p>
          <a:p>
            <a:pPr marL="285750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900"/>
              <a:t>Safe sleep algorithms have been developed based on</a:t>
            </a:r>
            <a:r>
              <a:rPr lang="en-US" sz="1900" b="1"/>
              <a:t> literature review, expert opinion, and unit consensus </a:t>
            </a:r>
            <a:endParaRPr lang="en-US" sz="1900"/>
          </a:p>
          <a:p>
            <a:pPr marL="285750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900"/>
          </a:p>
          <a:p>
            <a:pPr marL="285750"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1900" i="1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8590ADD5-9383-4D3D-9047-3DA2593CCB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08185" y="3423959"/>
            <a:ext cx="540822" cy="540822"/>
          </a:xfrm>
          <a:prstGeom prst="ellipse">
            <a:avLst/>
          </a:prstGeom>
          <a:noFill/>
          <a:ln w="1270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70CA2F-99D6-D3CA-118A-D321B13BD0C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3364" y="1399365"/>
            <a:ext cx="3781051" cy="3781051"/>
          </a:xfrm>
          <a:custGeom>
            <a:avLst/>
            <a:gdLst/>
            <a:ahLst/>
            <a:cxnLst/>
            <a:rect l="l" t="t" r="r" b="b"/>
            <a:pathLst>
              <a:path w="4114800" h="5712488">
                <a:moveTo>
                  <a:pt x="133155" y="0"/>
                </a:moveTo>
                <a:lnTo>
                  <a:pt x="3981645" y="0"/>
                </a:lnTo>
                <a:cubicBezTo>
                  <a:pt x="4055184" y="0"/>
                  <a:pt x="4114800" y="59616"/>
                  <a:pt x="4114800" y="133155"/>
                </a:cubicBezTo>
                <a:lnTo>
                  <a:pt x="4114800" y="5579333"/>
                </a:lnTo>
                <a:cubicBezTo>
                  <a:pt x="4114800" y="5652872"/>
                  <a:pt x="4055184" y="5712488"/>
                  <a:pt x="3981645" y="5712488"/>
                </a:cubicBezTo>
                <a:lnTo>
                  <a:pt x="133155" y="5712488"/>
                </a:lnTo>
                <a:cubicBezTo>
                  <a:pt x="59616" y="5712488"/>
                  <a:pt x="0" y="5652872"/>
                  <a:pt x="0" y="5579333"/>
                </a:cubicBezTo>
                <a:lnTo>
                  <a:pt x="0" y="133155"/>
                </a:lnTo>
                <a:cubicBezTo>
                  <a:pt x="0" y="59616"/>
                  <a:pt x="59616" y="0"/>
                  <a:pt x="133155" y="0"/>
                </a:cubicBezTo>
                <a:close/>
              </a:path>
            </a:pathLst>
          </a:cu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ABE3E45-88CF-45D8-8D40-C773324D93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749602" y="1"/>
            <a:ext cx="2066948" cy="1621879"/>
          </a:xfrm>
          <a:custGeom>
            <a:avLst/>
            <a:gdLst>
              <a:gd name="connsiteX0" fmla="*/ 0 w 2066948"/>
              <a:gd name="connsiteY0" fmla="*/ 0 h 1621879"/>
              <a:gd name="connsiteX1" fmla="*/ 123825 w 2066948"/>
              <a:gd name="connsiteY1" fmla="*/ 0 h 1621879"/>
              <a:gd name="connsiteX2" fmla="*/ 123825 w 2066948"/>
              <a:gd name="connsiteY2" fmla="*/ 1452620 h 1621879"/>
              <a:gd name="connsiteX3" fmla="*/ 1881378 w 2066948"/>
              <a:gd name="connsiteY3" fmla="*/ 436017 h 1621879"/>
              <a:gd name="connsiteX4" fmla="*/ 1127572 w 2066948"/>
              <a:gd name="connsiteY4" fmla="*/ 0 h 1621879"/>
              <a:gd name="connsiteX5" fmla="*/ 1374887 w 2066948"/>
              <a:gd name="connsiteY5" fmla="*/ 0 h 1621879"/>
              <a:gd name="connsiteX6" fmla="*/ 2035969 w 2066948"/>
              <a:gd name="connsiteY6" fmla="*/ 382391 h 1621879"/>
              <a:gd name="connsiteX7" fmla="*/ 2058648 w 2066948"/>
              <a:gd name="connsiteY7" fmla="*/ 466963 h 1621879"/>
              <a:gd name="connsiteX8" fmla="*/ 2035969 w 2066948"/>
              <a:gd name="connsiteY8" fmla="*/ 489642 h 1621879"/>
              <a:gd name="connsiteX9" fmla="*/ 92869 w 2066948"/>
              <a:gd name="connsiteY9" fmla="*/ 1613592 h 1621879"/>
              <a:gd name="connsiteX10" fmla="*/ 61913 w 2066948"/>
              <a:gd name="connsiteY10" fmla="*/ 1621879 h 1621879"/>
              <a:gd name="connsiteX11" fmla="*/ 0 w 2066948"/>
              <a:gd name="connsiteY11" fmla="*/ 1559967 h 1621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66948" h="1621879">
                <a:moveTo>
                  <a:pt x="0" y="0"/>
                </a:moveTo>
                <a:lnTo>
                  <a:pt x="123825" y="0"/>
                </a:lnTo>
                <a:lnTo>
                  <a:pt x="123825" y="1452620"/>
                </a:lnTo>
                <a:lnTo>
                  <a:pt x="1881378" y="436017"/>
                </a:lnTo>
                <a:lnTo>
                  <a:pt x="1127572" y="0"/>
                </a:lnTo>
                <a:lnTo>
                  <a:pt x="1374887" y="0"/>
                </a:lnTo>
                <a:lnTo>
                  <a:pt x="2035969" y="382391"/>
                </a:lnTo>
                <a:cubicBezTo>
                  <a:pt x="2065582" y="399479"/>
                  <a:pt x="2075745" y="437340"/>
                  <a:pt x="2058648" y="466963"/>
                </a:cubicBezTo>
                <a:cubicBezTo>
                  <a:pt x="2053219" y="476384"/>
                  <a:pt x="2045389" y="484204"/>
                  <a:pt x="2035969" y="489642"/>
                </a:cubicBezTo>
                <a:lnTo>
                  <a:pt x="92869" y="1613592"/>
                </a:lnTo>
                <a:cubicBezTo>
                  <a:pt x="83458" y="1619031"/>
                  <a:pt x="72780" y="1621889"/>
                  <a:pt x="61913" y="1621879"/>
                </a:cubicBezTo>
                <a:cubicBezTo>
                  <a:pt x="27719" y="1621879"/>
                  <a:pt x="0" y="1594161"/>
                  <a:pt x="0" y="1559967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9CD1692-827B-4C8D-B4A1-134FD04CF4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2138745" y="1027906"/>
            <a:ext cx="0" cy="1597708"/>
          </a:xfrm>
          <a:prstGeom prst="line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B91ECDA9-56DC-4270-8F33-01C5637B8C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463438">
            <a:off x="7456580" y="5166682"/>
            <a:ext cx="1835725" cy="2024785"/>
          </a:xfrm>
          <a:custGeom>
            <a:avLst/>
            <a:gdLst>
              <a:gd name="connsiteX0" fmla="*/ 1801138 w 1835725"/>
              <a:gd name="connsiteY0" fmla="*/ 1622662 h 2024785"/>
              <a:gd name="connsiteX1" fmla="*/ 1835717 w 1835725"/>
              <a:gd name="connsiteY1" fmla="*/ 1680254 h 2024785"/>
              <a:gd name="connsiteX2" fmla="*/ 1812568 w 1835725"/>
              <a:gd name="connsiteY2" fmla="*/ 1877193 h 2024785"/>
              <a:gd name="connsiteX3" fmla="*/ 1776210 w 1835725"/>
              <a:gd name="connsiteY3" fmla="*/ 2024785 h 2024785"/>
              <a:gd name="connsiteX4" fmla="*/ 1655772 w 1835725"/>
              <a:gd name="connsiteY4" fmla="*/ 1983449 h 2024785"/>
              <a:gd name="connsiteX5" fmla="*/ 1687591 w 1835725"/>
              <a:gd name="connsiteY5" fmla="*/ 1854495 h 2024785"/>
              <a:gd name="connsiteX6" fmla="*/ 1708939 w 1835725"/>
              <a:gd name="connsiteY6" fmla="*/ 1673301 h 2024785"/>
              <a:gd name="connsiteX7" fmla="*/ 1778129 w 1835725"/>
              <a:gd name="connsiteY7" fmla="*/ 1615979 h 2024785"/>
              <a:gd name="connsiteX8" fmla="*/ 1801138 w 1835725"/>
              <a:gd name="connsiteY8" fmla="*/ 1622662 h 2024785"/>
              <a:gd name="connsiteX9" fmla="*/ 1585229 w 1835725"/>
              <a:gd name="connsiteY9" fmla="*/ 764759 h 2024785"/>
              <a:gd name="connsiteX10" fmla="*/ 1623024 w 1835725"/>
              <a:gd name="connsiteY10" fmla="*/ 792810 h 2024785"/>
              <a:gd name="connsiteX11" fmla="*/ 1777614 w 1835725"/>
              <a:gd name="connsiteY11" fmla="*/ 1157141 h 2024785"/>
              <a:gd name="connsiteX12" fmla="*/ 1733799 w 1835725"/>
              <a:gd name="connsiteY12" fmla="*/ 1235532 h 2024785"/>
              <a:gd name="connsiteX13" fmla="*/ 1716464 w 1835725"/>
              <a:gd name="connsiteY13" fmla="*/ 1237722 h 2024785"/>
              <a:gd name="connsiteX14" fmla="*/ 1716464 w 1835725"/>
              <a:gd name="connsiteY14" fmla="*/ 1237913 h 2024785"/>
              <a:gd name="connsiteX15" fmla="*/ 1655409 w 1835725"/>
              <a:gd name="connsiteY15" fmla="*/ 1191717 h 2024785"/>
              <a:gd name="connsiteX16" fmla="*/ 1513200 w 1835725"/>
              <a:gd name="connsiteY16" fmla="*/ 856627 h 2024785"/>
              <a:gd name="connsiteX17" fmla="*/ 1538499 w 1835725"/>
              <a:gd name="connsiteY17" fmla="*/ 770415 h 2024785"/>
              <a:gd name="connsiteX18" fmla="*/ 1585229 w 1835725"/>
              <a:gd name="connsiteY18" fmla="*/ 764759 h 2024785"/>
              <a:gd name="connsiteX19" fmla="*/ 477919 w 1835725"/>
              <a:gd name="connsiteY19" fmla="*/ 21437 h 2024785"/>
              <a:gd name="connsiteX20" fmla="*/ 509236 w 1835725"/>
              <a:gd name="connsiteY20" fmla="*/ 84182 h 2024785"/>
              <a:gd name="connsiteX21" fmla="*/ 445829 w 1835725"/>
              <a:gd name="connsiteY21" fmla="*/ 139871 h 2024785"/>
              <a:gd name="connsiteX22" fmla="*/ 437447 w 1835725"/>
              <a:gd name="connsiteY22" fmla="*/ 139395 h 2024785"/>
              <a:gd name="connsiteX23" fmla="*/ 73211 w 1835725"/>
              <a:gd name="connsiteY23" fmla="*/ 137204 h 2024785"/>
              <a:gd name="connsiteX24" fmla="*/ 749 w 1835725"/>
              <a:gd name="connsiteY24" fmla="*/ 84082 h 2024785"/>
              <a:gd name="connsiteX25" fmla="*/ 53871 w 1835725"/>
              <a:gd name="connsiteY25" fmla="*/ 11621 h 2024785"/>
              <a:gd name="connsiteX26" fmla="*/ 58352 w 1835725"/>
              <a:gd name="connsiteY26" fmla="*/ 11093 h 2024785"/>
              <a:gd name="connsiteX27" fmla="*/ 454020 w 1835725"/>
              <a:gd name="connsiteY27" fmla="*/ 13474 h 2024785"/>
              <a:gd name="connsiteX28" fmla="*/ 477919 w 1835725"/>
              <a:gd name="connsiteY28" fmla="*/ 21437 h 2024785"/>
              <a:gd name="connsiteX29" fmla="*/ 957797 w 1835725"/>
              <a:gd name="connsiteY29" fmla="*/ 167970 h 2024785"/>
              <a:gd name="connsiteX30" fmla="*/ 1286982 w 1835725"/>
              <a:gd name="connsiteY30" fmla="*/ 387616 h 2024785"/>
              <a:gd name="connsiteX31" fmla="*/ 1293725 w 1835725"/>
              <a:gd name="connsiteY31" fmla="*/ 477075 h 2024785"/>
              <a:gd name="connsiteX32" fmla="*/ 1245453 w 1835725"/>
              <a:gd name="connsiteY32" fmla="*/ 499154 h 2024785"/>
              <a:gd name="connsiteX33" fmla="*/ 1245167 w 1835725"/>
              <a:gd name="connsiteY33" fmla="*/ 499154 h 2024785"/>
              <a:gd name="connsiteX34" fmla="*/ 1203638 w 1835725"/>
              <a:gd name="connsiteY34" fmla="*/ 484104 h 2024785"/>
              <a:gd name="connsiteX35" fmla="*/ 900647 w 1835725"/>
              <a:gd name="connsiteY35" fmla="*/ 281508 h 2024785"/>
              <a:gd name="connsiteX36" fmla="*/ 872454 w 1835725"/>
              <a:gd name="connsiteY36" fmla="*/ 196164 h 2024785"/>
              <a:gd name="connsiteX37" fmla="*/ 957797 w 1835725"/>
              <a:gd name="connsiteY37" fmla="*/ 167970 h 2024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835725" h="2024785">
                <a:moveTo>
                  <a:pt x="1801138" y="1622662"/>
                </a:moveTo>
                <a:cubicBezTo>
                  <a:pt x="1822105" y="1633400"/>
                  <a:pt x="1836117" y="1655372"/>
                  <a:pt x="1835717" y="1680254"/>
                </a:cubicBezTo>
                <a:cubicBezTo>
                  <a:pt x="1832093" y="1746382"/>
                  <a:pt x="1824354" y="1812154"/>
                  <a:pt x="1812568" y="1877193"/>
                </a:cubicBezTo>
                <a:lnTo>
                  <a:pt x="1776210" y="2024785"/>
                </a:lnTo>
                <a:lnTo>
                  <a:pt x="1655772" y="1983449"/>
                </a:lnTo>
                <a:lnTo>
                  <a:pt x="1687591" y="1854495"/>
                </a:lnTo>
                <a:cubicBezTo>
                  <a:pt x="1698455" y="1794657"/>
                  <a:pt x="1705590" y="1734142"/>
                  <a:pt x="1708939" y="1673301"/>
                </a:cubicBezTo>
                <a:cubicBezTo>
                  <a:pt x="1712216" y="1638363"/>
                  <a:pt x="1743190" y="1612703"/>
                  <a:pt x="1778129" y="1615979"/>
                </a:cubicBezTo>
                <a:cubicBezTo>
                  <a:pt x="1786387" y="1616753"/>
                  <a:pt x="1794149" y="1619084"/>
                  <a:pt x="1801138" y="1622662"/>
                </a:cubicBezTo>
                <a:close/>
                <a:moveTo>
                  <a:pt x="1585229" y="764759"/>
                </a:moveTo>
                <a:cubicBezTo>
                  <a:pt x="1600438" y="768789"/>
                  <a:pt x="1614156" y="778436"/>
                  <a:pt x="1623024" y="792810"/>
                </a:cubicBezTo>
                <a:cubicBezTo>
                  <a:pt x="1689575" y="907319"/>
                  <a:pt x="1741505" y="1029715"/>
                  <a:pt x="1777614" y="1157141"/>
                </a:cubicBezTo>
                <a:cubicBezTo>
                  <a:pt x="1787149" y="1190888"/>
                  <a:pt x="1767537" y="1225969"/>
                  <a:pt x="1733799" y="1235532"/>
                </a:cubicBezTo>
                <a:cubicBezTo>
                  <a:pt x="1728151" y="1237046"/>
                  <a:pt x="1722312" y="1237780"/>
                  <a:pt x="1716464" y="1237722"/>
                </a:cubicBezTo>
                <a:lnTo>
                  <a:pt x="1716464" y="1237913"/>
                </a:lnTo>
                <a:cubicBezTo>
                  <a:pt x="1688070" y="1237913"/>
                  <a:pt x="1663124" y="1219044"/>
                  <a:pt x="1655409" y="1191717"/>
                </a:cubicBezTo>
                <a:cubicBezTo>
                  <a:pt x="1622214" y="1074512"/>
                  <a:pt x="1574437" y="961936"/>
                  <a:pt x="1513200" y="856627"/>
                </a:cubicBezTo>
                <a:cubicBezTo>
                  <a:pt x="1496379" y="825834"/>
                  <a:pt x="1507704" y="787236"/>
                  <a:pt x="1538499" y="770415"/>
                </a:cubicBezTo>
                <a:cubicBezTo>
                  <a:pt x="1553325" y="762319"/>
                  <a:pt x="1570022" y="760730"/>
                  <a:pt x="1585229" y="764759"/>
                </a:cubicBezTo>
                <a:close/>
                <a:moveTo>
                  <a:pt x="477919" y="21437"/>
                </a:moveTo>
                <a:cubicBezTo>
                  <a:pt x="499341" y="33775"/>
                  <a:pt x="512445" y="58102"/>
                  <a:pt x="509236" y="84182"/>
                </a:cubicBezTo>
                <a:cubicBezTo>
                  <a:pt x="505303" y="116151"/>
                  <a:pt x="478038" y="140098"/>
                  <a:pt x="445829" y="139871"/>
                </a:cubicBezTo>
                <a:cubicBezTo>
                  <a:pt x="443027" y="139899"/>
                  <a:pt x="440227" y="139740"/>
                  <a:pt x="437447" y="139395"/>
                </a:cubicBezTo>
                <a:cubicBezTo>
                  <a:pt x="316592" y="123615"/>
                  <a:pt x="194247" y="122878"/>
                  <a:pt x="73211" y="137204"/>
                </a:cubicBezTo>
                <a:cubicBezTo>
                  <a:pt x="38532" y="142545"/>
                  <a:pt x="6090" y="118762"/>
                  <a:pt x="749" y="84082"/>
                </a:cubicBezTo>
                <a:cubicBezTo>
                  <a:pt x="-4591" y="49403"/>
                  <a:pt x="19192" y="16961"/>
                  <a:pt x="53871" y="11621"/>
                </a:cubicBezTo>
                <a:cubicBezTo>
                  <a:pt x="55358" y="11392"/>
                  <a:pt x="56852" y="11216"/>
                  <a:pt x="58352" y="11093"/>
                </a:cubicBezTo>
                <a:cubicBezTo>
                  <a:pt x="189834" y="-4456"/>
                  <a:pt x="322735" y="-3656"/>
                  <a:pt x="454020" y="13474"/>
                </a:cubicBezTo>
                <a:cubicBezTo>
                  <a:pt x="462713" y="14543"/>
                  <a:pt x="470778" y="17324"/>
                  <a:pt x="477919" y="21437"/>
                </a:cubicBezTo>
                <a:close/>
                <a:moveTo>
                  <a:pt x="957797" y="167970"/>
                </a:moveTo>
                <a:cubicBezTo>
                  <a:pt x="1076184" y="227289"/>
                  <a:pt x="1186759" y="301068"/>
                  <a:pt x="1286982" y="387616"/>
                </a:cubicBezTo>
                <a:cubicBezTo>
                  <a:pt x="1313547" y="410457"/>
                  <a:pt x="1316566" y="450510"/>
                  <a:pt x="1293725" y="477075"/>
                </a:cubicBezTo>
                <a:cubicBezTo>
                  <a:pt x="1281638" y="491137"/>
                  <a:pt x="1263998" y="499204"/>
                  <a:pt x="1245453" y="499154"/>
                </a:cubicBezTo>
                <a:lnTo>
                  <a:pt x="1245167" y="499154"/>
                </a:lnTo>
                <a:cubicBezTo>
                  <a:pt x="1229965" y="499301"/>
                  <a:pt x="1215220" y="493956"/>
                  <a:pt x="1203638" y="484104"/>
                </a:cubicBezTo>
                <a:cubicBezTo>
                  <a:pt x="1111407" y="404300"/>
                  <a:pt x="1009633" y="336248"/>
                  <a:pt x="900647" y="281508"/>
                </a:cubicBezTo>
                <a:cubicBezTo>
                  <a:pt x="869295" y="265726"/>
                  <a:pt x="856672" y="227516"/>
                  <a:pt x="872454" y="196164"/>
                </a:cubicBezTo>
                <a:cubicBezTo>
                  <a:pt x="888235" y="164811"/>
                  <a:pt x="926445" y="152188"/>
                  <a:pt x="957797" y="167970"/>
                </a:cubicBez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5F47824-961D-465D-84F9-EAE11BC61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09527" y="6033795"/>
            <a:ext cx="1991064" cy="824205"/>
          </a:xfrm>
          <a:custGeom>
            <a:avLst/>
            <a:gdLst>
              <a:gd name="connsiteX0" fmla="*/ 995532 w 1991064"/>
              <a:gd name="connsiteY0" fmla="*/ 0 h 824205"/>
              <a:gd name="connsiteX1" fmla="*/ 1984823 w 1991064"/>
              <a:gd name="connsiteY1" fmla="*/ 784423 h 824205"/>
              <a:gd name="connsiteX2" fmla="*/ 1991064 w 1991064"/>
              <a:gd name="connsiteY2" fmla="*/ 824205 h 824205"/>
              <a:gd name="connsiteX3" fmla="*/ 0 w 1991064"/>
              <a:gd name="connsiteY3" fmla="*/ 824205 h 824205"/>
              <a:gd name="connsiteX4" fmla="*/ 6241 w 1991064"/>
              <a:gd name="connsiteY4" fmla="*/ 784423 h 824205"/>
              <a:gd name="connsiteX5" fmla="*/ 995532 w 1991064"/>
              <a:gd name="connsiteY5" fmla="*/ 0 h 824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91064" h="824205">
                <a:moveTo>
                  <a:pt x="995532" y="0"/>
                </a:moveTo>
                <a:cubicBezTo>
                  <a:pt x="1483521" y="0"/>
                  <a:pt x="1890663" y="336754"/>
                  <a:pt x="1984823" y="784423"/>
                </a:cubicBezTo>
                <a:lnTo>
                  <a:pt x="1991064" y="824205"/>
                </a:lnTo>
                <a:lnTo>
                  <a:pt x="0" y="824205"/>
                </a:lnTo>
                <a:lnTo>
                  <a:pt x="6241" y="784423"/>
                </a:lnTo>
                <a:cubicBezTo>
                  <a:pt x="100402" y="336754"/>
                  <a:pt x="507544" y="0"/>
                  <a:pt x="99553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FEC9DA3E-C1D7-472D-B7C0-F71AE41FBA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851696" y="5519196"/>
            <a:ext cx="1340305" cy="1338805"/>
          </a:xfrm>
          <a:custGeom>
            <a:avLst/>
            <a:gdLst>
              <a:gd name="connsiteX0" fmla="*/ 61913 w 1340305"/>
              <a:gd name="connsiteY0" fmla="*/ 0 h 1338805"/>
              <a:gd name="connsiteX1" fmla="*/ 1340305 w 1340305"/>
              <a:gd name="connsiteY1" fmla="*/ 0 h 1338805"/>
              <a:gd name="connsiteX2" fmla="*/ 1340305 w 1340305"/>
              <a:gd name="connsiteY2" fmla="*/ 123825 h 1338805"/>
              <a:gd name="connsiteX3" fmla="*/ 123825 w 1340305"/>
              <a:gd name="connsiteY3" fmla="*/ 123825 h 1338805"/>
              <a:gd name="connsiteX4" fmla="*/ 123825 w 1340305"/>
              <a:gd name="connsiteY4" fmla="*/ 1338805 h 1338805"/>
              <a:gd name="connsiteX5" fmla="*/ 0 w 1340305"/>
              <a:gd name="connsiteY5" fmla="*/ 1338805 h 1338805"/>
              <a:gd name="connsiteX6" fmla="*/ 0 w 1340305"/>
              <a:gd name="connsiteY6" fmla="*/ 61913 h 1338805"/>
              <a:gd name="connsiteX7" fmla="*/ 61913 w 1340305"/>
              <a:gd name="connsiteY7" fmla="*/ 0 h 1338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40305" h="1338805">
                <a:moveTo>
                  <a:pt x="61913" y="0"/>
                </a:moveTo>
                <a:lnTo>
                  <a:pt x="1340305" y="0"/>
                </a:lnTo>
                <a:lnTo>
                  <a:pt x="1340305" y="123825"/>
                </a:lnTo>
                <a:lnTo>
                  <a:pt x="123825" y="123825"/>
                </a:lnTo>
                <a:lnTo>
                  <a:pt x="123825" y="1338805"/>
                </a:lnTo>
                <a:lnTo>
                  <a:pt x="0" y="1338805"/>
                </a:lnTo>
                <a:lnTo>
                  <a:pt x="0" y="61913"/>
                </a:lnTo>
                <a:cubicBezTo>
                  <a:pt x="0" y="27719"/>
                  <a:pt x="27719" y="0"/>
                  <a:pt x="61913" y="0"/>
                </a:cubicBezTo>
                <a:close/>
              </a:path>
            </a:pathLst>
          </a:custGeom>
          <a:solidFill>
            <a:schemeClr val="accent6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75579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diagram of a child&amp;#39;s algorithm&#10;&#10;Description automatically generated">
            <a:extLst>
              <a:ext uri="{FF2B5EF4-FFF2-40B4-BE49-F238E27FC236}">
                <a16:creationId xmlns:a16="http://schemas.microsoft.com/office/drawing/2014/main" id="{2657E20E-7E8A-1B9C-AB56-E970DE3E0AE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71" y="116378"/>
            <a:ext cx="11162686" cy="6740235"/>
          </a:xfrm>
          <a:prstGeom prst="rect">
            <a:avLst/>
          </a:prstGeom>
        </p:spPr>
      </p:pic>
      <p:sp>
        <p:nvSpPr>
          <p:cNvPr id="4" name="Wave 3">
            <a:extLst>
              <a:ext uri="{FF2B5EF4-FFF2-40B4-BE49-F238E27FC236}">
                <a16:creationId xmlns:a16="http://schemas.microsoft.com/office/drawing/2014/main" id="{FAAB6E2B-0947-4CD1-466F-159A9563E20E}"/>
              </a:ext>
            </a:extLst>
          </p:cNvPr>
          <p:cNvSpPr/>
          <p:nvPr/>
        </p:nvSpPr>
        <p:spPr>
          <a:xfrm>
            <a:off x="8691706" y="3059545"/>
            <a:ext cx="3020291" cy="1378528"/>
          </a:xfrm>
          <a:prstGeom prst="wave">
            <a:avLst/>
          </a:prstGeom>
          <a:solidFill>
            <a:srgbClr val="F2E1E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A543A55-FD86-4D01-1120-1FAEF060342A}"/>
              </a:ext>
            </a:extLst>
          </p:cNvPr>
          <p:cNvSpPr txBox="1"/>
          <p:nvPr/>
        </p:nvSpPr>
        <p:spPr>
          <a:xfrm>
            <a:off x="8759167" y="3429404"/>
            <a:ext cx="2950681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i="1">
                <a:solidFill>
                  <a:srgbClr val="1A1A1A"/>
                </a:solidFill>
                <a:latin typeface="DM Sans"/>
                <a:ea typeface="Open Sans"/>
                <a:cs typeface="Open Sans"/>
              </a:rPr>
              <a:t>Safe Sleep Algorithm utilized by Hwang et.al</a:t>
            </a:r>
            <a:endParaRPr lang="en-US" sz="1600" i="1">
              <a:latin typeface="DM Sans"/>
            </a:endParaRPr>
          </a:p>
        </p:txBody>
      </p:sp>
      <p:sp>
        <p:nvSpPr>
          <p:cNvPr id="5" name="TextBox 6">
            <a:extLst>
              <a:ext uri="{FF2B5EF4-FFF2-40B4-BE49-F238E27FC236}">
                <a16:creationId xmlns:a16="http://schemas.microsoft.com/office/drawing/2014/main" id="{15C264AE-4299-BB5B-72A8-9B269023B92D}"/>
              </a:ext>
            </a:extLst>
          </p:cNvPr>
          <p:cNvSpPr txBox="1"/>
          <p:nvPr/>
        </p:nvSpPr>
        <p:spPr>
          <a:xfrm>
            <a:off x="119244" y="4179365"/>
            <a:ext cx="2291918" cy="1938992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/>
              <a:t>Hwang </a:t>
            </a:r>
            <a:r>
              <a:rPr lang="en-US" sz="1500" err="1"/>
              <a:t>et.al</a:t>
            </a:r>
            <a:r>
              <a:rPr lang="en-US" sz="1500"/>
              <a:t> </a:t>
            </a:r>
            <a:r>
              <a:rPr lang="en-US" sz="1500">
                <a:solidFill>
                  <a:srgbClr val="1A1A1A"/>
                </a:solidFill>
                <a:ea typeface="+mn-lt"/>
                <a:cs typeface="+mn-lt"/>
              </a:rPr>
              <a:t>showed a pre- to post-intervention improvement with overall safe sleep environmental compliance in 2 community NICUs from </a:t>
            </a:r>
            <a:r>
              <a:rPr lang="en-US" sz="1500" b="1">
                <a:solidFill>
                  <a:srgbClr val="1A1A1A"/>
                </a:solidFill>
                <a:ea typeface="+mn-lt"/>
                <a:cs typeface="+mn-lt"/>
              </a:rPr>
              <a:t>25.9% to 79.7%  </a:t>
            </a:r>
          </a:p>
          <a:p>
            <a:endParaRPr lang="en-US" sz="1500" b="1">
              <a:solidFill>
                <a:srgbClr val="1A1A1A"/>
              </a:solidFill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7144687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3060C83-F051-4F0E-ABAD-AA0DFC48B2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83C98ABE-055B-441F-B07E-44F97F083C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900000" flipH="1">
            <a:off x="-376156" y="-253670"/>
            <a:ext cx="1827638" cy="1376989"/>
          </a:xfrm>
          <a:custGeom>
            <a:avLst/>
            <a:gdLst>
              <a:gd name="connsiteX0" fmla="*/ 0 w 1827638"/>
              <a:gd name="connsiteY0" fmla="*/ 987379 h 1376989"/>
              <a:gd name="connsiteX1" fmla="*/ 987379 w 1827638"/>
              <a:gd name="connsiteY1" fmla="*/ 0 h 1376989"/>
              <a:gd name="connsiteX2" fmla="*/ 1827638 w 1827638"/>
              <a:gd name="connsiteY2" fmla="*/ 840260 h 1376989"/>
              <a:gd name="connsiteX3" fmla="*/ 1827638 w 1827638"/>
              <a:gd name="connsiteY3" fmla="*/ 1376989 h 1376989"/>
              <a:gd name="connsiteX4" fmla="*/ 0 w 1827638"/>
              <a:gd name="connsiteY4" fmla="*/ 1376989 h 1376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7638" h="1376989">
                <a:moveTo>
                  <a:pt x="0" y="987379"/>
                </a:moveTo>
                <a:lnTo>
                  <a:pt x="987379" y="0"/>
                </a:lnTo>
                <a:lnTo>
                  <a:pt x="1827638" y="840260"/>
                </a:lnTo>
                <a:lnTo>
                  <a:pt x="1827638" y="1376989"/>
                </a:lnTo>
                <a:lnTo>
                  <a:pt x="0" y="1376989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9FDB030-9B49-4CED-8CCD-4D99382388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900000" flipH="1">
            <a:off x="891641" y="422146"/>
            <a:ext cx="645368" cy="64536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783CA14-24A1-485C-8B30-D6A5D87987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900000" flipH="1">
            <a:off x="10043482" y="655140"/>
            <a:ext cx="687472" cy="687472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A97C86A-04D6-40F7-AE84-31AB43E6A8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9356643" y="0"/>
            <a:ext cx="2835357" cy="1480837"/>
          </a:xfrm>
          <a:custGeom>
            <a:avLst/>
            <a:gdLst>
              <a:gd name="connsiteX0" fmla="*/ 2835357 w 2835357"/>
              <a:gd name="connsiteY0" fmla="*/ 1480837 h 1480837"/>
              <a:gd name="connsiteX1" fmla="*/ 0 w 2835357"/>
              <a:gd name="connsiteY1" fmla="*/ 1480837 h 1480837"/>
              <a:gd name="connsiteX2" fmla="*/ 1552727 w 2835357"/>
              <a:gd name="connsiteY2" fmla="*/ 0 h 1480837"/>
              <a:gd name="connsiteX3" fmla="*/ 2835357 w 2835357"/>
              <a:gd name="connsiteY3" fmla="*/ 1223245 h 1480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35357" h="1480837">
                <a:moveTo>
                  <a:pt x="2835357" y="1480837"/>
                </a:moveTo>
                <a:lnTo>
                  <a:pt x="0" y="1480837"/>
                </a:lnTo>
                <a:lnTo>
                  <a:pt x="1552727" y="0"/>
                </a:lnTo>
                <a:lnTo>
                  <a:pt x="2835357" y="1223245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Picture 3" descr="A diagram of a baby&amp;#39;s sleep algorithm&#10;&#10;Description automatically generated">
            <a:extLst>
              <a:ext uri="{FF2B5EF4-FFF2-40B4-BE49-F238E27FC236}">
                <a16:creationId xmlns:a16="http://schemas.microsoft.com/office/drawing/2014/main" id="{5A05A5B6-C4F5-839E-71DB-D91369A69F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6390" y="2324"/>
            <a:ext cx="9146209" cy="6841848"/>
          </a:xfrm>
          <a:prstGeom prst="rect">
            <a:avLst/>
          </a:prstGeom>
          <a:ln>
            <a:noFill/>
          </a:ln>
        </p:spPr>
      </p:pic>
      <p:sp>
        <p:nvSpPr>
          <p:cNvPr id="3" name="Wave 2">
            <a:extLst>
              <a:ext uri="{FF2B5EF4-FFF2-40B4-BE49-F238E27FC236}">
                <a16:creationId xmlns:a16="http://schemas.microsoft.com/office/drawing/2014/main" id="{E3D2CE02-3DD6-E308-B534-6618C5199191}"/>
              </a:ext>
            </a:extLst>
          </p:cNvPr>
          <p:cNvSpPr/>
          <p:nvPr/>
        </p:nvSpPr>
        <p:spPr>
          <a:xfrm>
            <a:off x="161745" y="2555468"/>
            <a:ext cx="3020291" cy="1377384"/>
          </a:xfrm>
          <a:prstGeom prst="wave">
            <a:avLst/>
          </a:prstGeom>
          <a:solidFill>
            <a:srgbClr val="DDEEF8"/>
          </a:solidFill>
          <a:ln>
            <a:solidFill>
              <a:srgbClr val="315D8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3BEF82-032E-2295-B56C-AC58156F9156}"/>
              </a:ext>
            </a:extLst>
          </p:cNvPr>
          <p:cNvSpPr txBox="1"/>
          <p:nvPr/>
        </p:nvSpPr>
        <p:spPr>
          <a:xfrm>
            <a:off x="162623" y="2911540"/>
            <a:ext cx="2950681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i="1">
                <a:solidFill>
                  <a:srgbClr val="1A1A1A"/>
                </a:solidFill>
                <a:latin typeface="DM Sans"/>
                <a:ea typeface="Open Sans"/>
                <a:cs typeface="Open Sans"/>
              </a:rPr>
              <a:t>Safe Sleep Algorithm utilized by Treiber-Paul</a:t>
            </a:r>
            <a:endParaRPr lang="en-US" sz="1600" i="1">
              <a:latin typeface="DM Sans"/>
            </a:endParaRPr>
          </a:p>
        </p:txBody>
      </p:sp>
    </p:spTree>
    <p:extLst>
      <p:ext uri="{BB962C8B-B14F-4D97-AF65-F5344CB8AC3E}">
        <p14:creationId xmlns:p14="http://schemas.microsoft.com/office/powerpoint/2010/main" val="132959603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ey and purple wavy lines&#10;&#10;Description automatically generated">
            <a:extLst>
              <a:ext uri="{FF2B5EF4-FFF2-40B4-BE49-F238E27FC236}">
                <a16:creationId xmlns:a16="http://schemas.microsoft.com/office/drawing/2014/main" id="{98A984B5-36FC-40B0-3A96-C4A53F4B7EF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398" y="2380"/>
            <a:ext cx="12199775" cy="6861016"/>
          </a:xfrm>
          <a:prstGeom prst="rect">
            <a:avLst/>
          </a:prstGeom>
          <a:ln>
            <a:noFill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5B14B2D-71E8-6A87-5308-3D3CF8BF9BAB}"/>
              </a:ext>
            </a:extLst>
          </p:cNvPr>
          <p:cNvSpPr txBox="1"/>
          <p:nvPr/>
        </p:nvSpPr>
        <p:spPr>
          <a:xfrm>
            <a:off x="2038905" y="204187"/>
            <a:ext cx="8469297" cy="553998"/>
          </a:xfrm>
          <a:prstGeom prst="rect">
            <a:avLst/>
          </a:prstGeom>
          <a:solidFill>
            <a:schemeClr val="bg1"/>
          </a:solidFill>
          <a:ln>
            <a:solidFill>
              <a:srgbClr val="1C498B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 algn="ctr"/>
            <a:r>
              <a:rPr lang="en-US" sz="3000" b="1">
                <a:solidFill>
                  <a:srgbClr val="1C498B"/>
                </a:solidFill>
                <a:latin typeface="DM Sans"/>
              </a:rPr>
              <a:t>ESSI's Vision for Educ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B28D5DD-292B-0A2A-0FD1-C5DFE39B7ABD}"/>
              </a:ext>
            </a:extLst>
          </p:cNvPr>
          <p:cNvSpPr txBox="1"/>
          <p:nvPr/>
        </p:nvSpPr>
        <p:spPr>
          <a:xfrm>
            <a:off x="946950" y="924756"/>
            <a:ext cx="10298097" cy="646331"/>
          </a:xfrm>
          <a:prstGeom prst="rect">
            <a:avLst/>
          </a:prstGeom>
          <a:solidFill>
            <a:schemeClr val="bg1"/>
          </a:solidFill>
          <a:ln>
            <a:solidFill>
              <a:srgbClr val="1C498B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>
                <a:ea typeface="+mn-lt"/>
                <a:cs typeface="+mn-lt"/>
              </a:rPr>
              <a:t>All health care providers and staff caring for infants less than one year old should receive initial and ongoing training on safe sleep practices.  </a:t>
            </a:r>
          </a:p>
        </p:txBody>
      </p:sp>
      <p:sp>
        <p:nvSpPr>
          <p:cNvPr id="12" name="Flowchart: Punched Tape 11">
            <a:extLst>
              <a:ext uri="{FF2B5EF4-FFF2-40B4-BE49-F238E27FC236}">
                <a16:creationId xmlns:a16="http://schemas.microsoft.com/office/drawing/2014/main" id="{7FB5525F-04F9-597A-77FB-3A756444F0A0}"/>
              </a:ext>
            </a:extLst>
          </p:cNvPr>
          <p:cNvSpPr/>
          <p:nvPr/>
        </p:nvSpPr>
        <p:spPr>
          <a:xfrm>
            <a:off x="7353670" y="1834717"/>
            <a:ext cx="4157708" cy="1760737"/>
          </a:xfrm>
          <a:prstGeom prst="flowChartPunchedTape">
            <a:avLst/>
          </a:prstGeom>
          <a:solidFill>
            <a:srgbClr val="F2E1E1"/>
          </a:solidFill>
          <a:ln>
            <a:solidFill>
              <a:srgbClr val="315D8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6E38B8-29F7-C4FE-9904-E32696E6279F}"/>
              </a:ext>
            </a:extLst>
          </p:cNvPr>
          <p:cNvSpPr txBox="1"/>
          <p:nvPr/>
        </p:nvSpPr>
        <p:spPr>
          <a:xfrm>
            <a:off x="7449844" y="2189825"/>
            <a:ext cx="4083726" cy="10772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/>
              <a:t>Additional webinars, articles, and supplemental readings on NICU practices are recommended and available on ILPQC's ESSI Education Resources Document. </a:t>
            </a:r>
          </a:p>
        </p:txBody>
      </p:sp>
      <p:sp>
        <p:nvSpPr>
          <p:cNvPr id="14" name="Star: 5 Points 13">
            <a:extLst>
              <a:ext uri="{FF2B5EF4-FFF2-40B4-BE49-F238E27FC236}">
                <a16:creationId xmlns:a16="http://schemas.microsoft.com/office/drawing/2014/main" id="{9DFAC628-6C95-944C-CE45-27407A28EE11}"/>
              </a:ext>
            </a:extLst>
          </p:cNvPr>
          <p:cNvSpPr/>
          <p:nvPr/>
        </p:nvSpPr>
        <p:spPr>
          <a:xfrm>
            <a:off x="7146524" y="1775533"/>
            <a:ext cx="414291" cy="414291"/>
          </a:xfrm>
          <a:prstGeom prst="star5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A screenshot of a medical information&#10;&#10;Description automatically generated">
            <a:extLst>
              <a:ext uri="{FF2B5EF4-FFF2-40B4-BE49-F238E27FC236}">
                <a16:creationId xmlns:a16="http://schemas.microsoft.com/office/drawing/2014/main" id="{898E0DE1-8AE0-E121-8537-AEE78ABE6C9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374" y="1836452"/>
            <a:ext cx="6781800" cy="4096792"/>
          </a:xfrm>
          <a:prstGeom prst="rect">
            <a:avLst/>
          </a:prstGeom>
        </p:spPr>
      </p:pic>
      <p:sp>
        <p:nvSpPr>
          <p:cNvPr id="13" name="Star: 5 Points 12">
            <a:extLst>
              <a:ext uri="{FF2B5EF4-FFF2-40B4-BE49-F238E27FC236}">
                <a16:creationId xmlns:a16="http://schemas.microsoft.com/office/drawing/2014/main" id="{3B5B097F-BCAC-A758-B0B6-33710A4F1CEA}"/>
              </a:ext>
            </a:extLst>
          </p:cNvPr>
          <p:cNvSpPr/>
          <p:nvPr/>
        </p:nvSpPr>
        <p:spPr>
          <a:xfrm>
            <a:off x="6276317" y="2573880"/>
            <a:ext cx="414291" cy="414291"/>
          </a:xfrm>
          <a:prstGeom prst="star5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5F25B3E-8328-E3B5-FFAC-AA9F570BFDEE}"/>
              </a:ext>
            </a:extLst>
          </p:cNvPr>
          <p:cNvSpPr txBox="1"/>
          <p:nvPr/>
        </p:nvSpPr>
        <p:spPr>
          <a:xfrm>
            <a:off x="7734822" y="4028573"/>
            <a:ext cx="6200382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>
                <a:solidFill>
                  <a:srgbClr val="F66695"/>
                </a:solidFill>
                <a:latin typeface="DM Sans"/>
                <a:ea typeface="+mn-lt"/>
                <a:cs typeface="+mn-lt"/>
              </a:rPr>
              <a:t>Crib </a:t>
            </a:r>
            <a:r>
              <a:rPr lang="en-US" sz="1800" b="1">
                <a:solidFill>
                  <a:srgbClr val="000000"/>
                </a:solidFill>
                <a:latin typeface="DM Sans"/>
                <a:ea typeface="+mn-lt"/>
                <a:cs typeface="+mn-lt"/>
              </a:rPr>
              <a:t>Cards </a:t>
            </a:r>
            <a:endParaRPr lang="en-US" sz="1800">
              <a:solidFill>
                <a:srgbClr val="000000"/>
              </a:solidFill>
              <a:latin typeface="DM Sans"/>
              <a:ea typeface="+mn-lt"/>
              <a:cs typeface="+mn-lt"/>
            </a:endParaRPr>
          </a:p>
          <a:p>
            <a:r>
              <a:rPr lang="en-US" sz="1800" b="1">
                <a:solidFill>
                  <a:srgbClr val="F66695"/>
                </a:solidFill>
                <a:latin typeface="DM Sans"/>
                <a:cs typeface="Calibri"/>
              </a:rPr>
              <a:t>Crib </a:t>
            </a:r>
            <a:r>
              <a:rPr lang="en-US" sz="1800" b="1">
                <a:latin typeface="DM Sans"/>
                <a:cs typeface="Calibri"/>
              </a:rPr>
              <a:t>Audits </a:t>
            </a:r>
            <a:endParaRPr lang="en-US">
              <a:latin typeface="Aptos" panose="020B0004020202020204"/>
              <a:cs typeface="Calibri"/>
            </a:endParaRPr>
          </a:p>
          <a:p>
            <a:r>
              <a:rPr lang="en-US" sz="1800" b="1">
                <a:solidFill>
                  <a:srgbClr val="F5668F"/>
                </a:solidFill>
                <a:latin typeface="DM Sans"/>
                <a:cs typeface="Calibri"/>
              </a:rPr>
              <a:t>Media </a:t>
            </a:r>
            <a:r>
              <a:rPr lang="en-US" sz="1800" b="1">
                <a:latin typeface="DM Sans"/>
                <a:cs typeface="Calibri"/>
              </a:rPr>
              <a:t>Toolkits  </a:t>
            </a:r>
          </a:p>
          <a:p>
            <a:r>
              <a:rPr lang="en-US" sz="1800" b="1">
                <a:solidFill>
                  <a:srgbClr val="F5668F"/>
                </a:solidFill>
                <a:latin typeface="DM Sans"/>
                <a:cs typeface="Calibri"/>
              </a:rPr>
              <a:t>Sharing</a:t>
            </a:r>
            <a:r>
              <a:rPr lang="en-US" sz="1800" b="1">
                <a:latin typeface="DM Sans"/>
                <a:cs typeface="Calibri"/>
              </a:rPr>
              <a:t> Patient Stories</a:t>
            </a:r>
          </a:p>
          <a:p>
            <a:r>
              <a:rPr lang="en-US" sz="1800" b="1">
                <a:solidFill>
                  <a:srgbClr val="F5668F"/>
                </a:solidFill>
                <a:latin typeface="DM Sans"/>
                <a:cs typeface="Calibri"/>
              </a:rPr>
              <a:t>Risk</a:t>
            </a:r>
            <a:r>
              <a:rPr lang="en-US" sz="1800" b="1">
                <a:latin typeface="DM Sans"/>
                <a:cs typeface="Calibri"/>
              </a:rPr>
              <a:t> Reduction</a:t>
            </a:r>
          </a:p>
          <a:p>
            <a:r>
              <a:rPr lang="en-US" sz="1800" b="1">
                <a:solidFill>
                  <a:srgbClr val="F5668F"/>
                </a:solidFill>
                <a:latin typeface="DM Sans"/>
                <a:cs typeface="Calibri"/>
              </a:rPr>
              <a:t>Respectful</a:t>
            </a:r>
            <a:r>
              <a:rPr lang="en-US" sz="1800" b="1">
                <a:latin typeface="DM Sans"/>
                <a:cs typeface="Calibri"/>
              </a:rPr>
              <a:t> Conversations</a:t>
            </a:r>
          </a:p>
        </p:txBody>
      </p:sp>
      <p:sp>
        <p:nvSpPr>
          <p:cNvPr id="10" name="Star: 5 Points 12">
            <a:extLst>
              <a:ext uri="{FF2B5EF4-FFF2-40B4-BE49-F238E27FC236}">
                <a16:creationId xmlns:a16="http://schemas.microsoft.com/office/drawing/2014/main" id="{5C724327-9614-0DB0-A20D-6CB0F9967564}"/>
              </a:ext>
            </a:extLst>
          </p:cNvPr>
          <p:cNvSpPr/>
          <p:nvPr/>
        </p:nvSpPr>
        <p:spPr>
          <a:xfrm>
            <a:off x="7362493" y="3904351"/>
            <a:ext cx="414291" cy="414291"/>
          </a:xfrm>
          <a:prstGeom prst="star5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69019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791C4-9B3C-9538-F299-A006E1E9E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6027" y="3245729"/>
            <a:ext cx="9365380" cy="2014679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>
                <a:solidFill>
                  <a:srgbClr val="1C498B"/>
                </a:solidFill>
                <a:latin typeface="DM Sans"/>
                <a:ea typeface="Lato Medium"/>
                <a:cs typeface="Arial"/>
              </a:rPr>
              <a:t>Step 3: </a:t>
            </a:r>
            <a:r>
              <a:rPr lang="en-US">
                <a:latin typeface="DM Sans"/>
              </a:rPr>
              <a:t>Endorse and model safe sleep practices and incorporate safe sleep education into orientation, annual competencies and ongoing education.</a:t>
            </a:r>
            <a:br>
              <a:rPr lang="en-US"/>
            </a:br>
            <a:br>
              <a:rPr lang="en-US" spc="43">
                <a:solidFill>
                  <a:srgbClr val="1C498B"/>
                </a:solidFill>
                <a:latin typeface="DM Sans"/>
              </a:rPr>
            </a:br>
            <a:endParaRPr lang="en-US">
              <a:solidFill>
                <a:srgbClr val="1C498B"/>
              </a:solidFill>
              <a:latin typeface="DM Sans"/>
              <a:ea typeface="Lato Medium"/>
              <a:cs typeface="Prompt"/>
            </a:endParaRPr>
          </a:p>
        </p:txBody>
      </p:sp>
    </p:spTree>
    <p:extLst>
      <p:ext uri="{BB962C8B-B14F-4D97-AF65-F5344CB8AC3E}">
        <p14:creationId xmlns:p14="http://schemas.microsoft.com/office/powerpoint/2010/main" val="264354257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aby in a nurse&amp;#39;s hand&#10;&#10;Description automatically generated">
            <a:extLst>
              <a:ext uri="{FF2B5EF4-FFF2-40B4-BE49-F238E27FC236}">
                <a16:creationId xmlns:a16="http://schemas.microsoft.com/office/drawing/2014/main" id="{21692041-D188-4309-F453-B6FAAABB138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58" y="-43022"/>
            <a:ext cx="6096000" cy="3971409"/>
          </a:xfrm>
          <a:prstGeom prst="rect">
            <a:avLst/>
          </a:prstGeom>
        </p:spPr>
      </p:pic>
      <p:pic>
        <p:nvPicPr>
          <p:cNvPr id="4" name="Picture 3" descr="A baby sleeping on a crib&#10;&#10;Description automatically generated">
            <a:extLst>
              <a:ext uri="{FF2B5EF4-FFF2-40B4-BE49-F238E27FC236}">
                <a16:creationId xmlns:a16="http://schemas.microsoft.com/office/drawing/2014/main" id="{57F2801F-3130-F540-A9E1-F4C91F4B319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7184" y="-39759"/>
            <a:ext cx="6096000" cy="3975116"/>
          </a:xfrm>
          <a:prstGeom prst="rect">
            <a:avLst/>
          </a:prstGeom>
        </p:spPr>
      </p:pic>
      <p:pic>
        <p:nvPicPr>
          <p:cNvPr id="6" name="Picture 5" descr="A chart of a baby&amp;#39;s sleep&#10;&#10;Description automatically generated">
            <a:extLst>
              <a:ext uri="{FF2B5EF4-FFF2-40B4-BE49-F238E27FC236}">
                <a16:creationId xmlns:a16="http://schemas.microsoft.com/office/drawing/2014/main" id="{85660A03-A17A-1A4F-4E70-C094B1AF559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02" y="3329376"/>
            <a:ext cx="6096000" cy="3531788"/>
          </a:xfrm>
          <a:prstGeom prst="rect">
            <a:avLst/>
          </a:prstGeom>
        </p:spPr>
      </p:pic>
      <p:pic>
        <p:nvPicPr>
          <p:cNvPr id="7" name="Picture 6" descr="A close-up of a poster&#10;&#10;Description automatically generated">
            <a:extLst>
              <a:ext uri="{FF2B5EF4-FFF2-40B4-BE49-F238E27FC236}">
                <a16:creationId xmlns:a16="http://schemas.microsoft.com/office/drawing/2014/main" id="{F75B5DA4-2453-EFFA-A269-9C42641F3CA0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3319488"/>
            <a:ext cx="6096000" cy="3540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27998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white background with blue and pink circles and text&#10;&#10;Description automatically generated">
            <a:extLst>
              <a:ext uri="{FF2B5EF4-FFF2-40B4-BE49-F238E27FC236}">
                <a16:creationId xmlns:a16="http://schemas.microsoft.com/office/drawing/2014/main" id="{0CA9D5C7-31FE-BC5B-AA78-7D40F3CCDB7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3411" y="64630"/>
            <a:ext cx="5391933" cy="3827671"/>
          </a:xfrm>
          <a:prstGeom prst="rect">
            <a:avLst/>
          </a:prstGeom>
        </p:spPr>
      </p:pic>
      <p:pic>
        <p:nvPicPr>
          <p:cNvPr id="2" name="Picture 1" descr="A white and blue card with text&#10;&#10;Description automatically generated">
            <a:extLst>
              <a:ext uri="{FF2B5EF4-FFF2-40B4-BE49-F238E27FC236}">
                <a16:creationId xmlns:a16="http://schemas.microsoft.com/office/drawing/2014/main" id="{4401D335-FCC5-12E5-2698-827E875896F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5" y="43576"/>
            <a:ext cx="5204194" cy="365097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3B7267-734E-2D2B-EA6B-A913BC2626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10257" y="6356350"/>
            <a:ext cx="560009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rgbClr val="898989"/>
                </a:solidFill>
              </a:rPr>
              <a:pPr>
                <a:spcAft>
                  <a:spcPts val="600"/>
                </a:spcAft>
              </a:pPr>
              <a:t>36</a:t>
            </a:fld>
            <a:endParaRPr lang="en-US">
              <a:solidFill>
                <a:srgbClr val="898989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6048243" y="62404"/>
            <a:ext cx="1310640" cy="42036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/>
              <a:t>Back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04272" y="3884544"/>
            <a:ext cx="1310640" cy="46393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/>
              <a:t>Front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502D5C0-84C7-112C-6055-330128AF2D99}"/>
              </a:ext>
            </a:extLst>
          </p:cNvPr>
          <p:cNvSpPr/>
          <p:nvPr/>
        </p:nvSpPr>
        <p:spPr>
          <a:xfrm>
            <a:off x="8086078" y="4719961"/>
            <a:ext cx="3225553" cy="102093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000" b="1" i="1"/>
              <a:t>Coming Soon: ILPQC Crib Cards</a:t>
            </a:r>
          </a:p>
        </p:txBody>
      </p:sp>
      <p:pic>
        <p:nvPicPr>
          <p:cNvPr id="5" name="Picture 4" descr="A white background with blue and pink circles and text&#10;&#10;Description automatically generated">
            <a:extLst>
              <a:ext uri="{FF2B5EF4-FFF2-40B4-BE49-F238E27FC236}">
                <a16:creationId xmlns:a16="http://schemas.microsoft.com/office/drawing/2014/main" id="{3F470FA4-9951-3111-C290-963712DC782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3067" y="3433968"/>
            <a:ext cx="4872213" cy="3430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8578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C15E382-2D31-CF39-FA4C-DC6FE05530D6}"/>
              </a:ext>
            </a:extLst>
          </p:cNvPr>
          <p:cNvSpPr txBox="1">
            <a:spLocks/>
          </p:cNvSpPr>
          <p:nvPr/>
        </p:nvSpPr>
        <p:spPr>
          <a:xfrm>
            <a:off x="1760890" y="42963"/>
            <a:ext cx="8229600" cy="1143000"/>
          </a:xfrm>
          <a:prstGeom prst="rect">
            <a:avLst/>
          </a:prstGeom>
          <a:noFill/>
        </p:spPr>
        <p:txBody>
          <a:bodyPr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Audit Tool</a:t>
            </a:r>
          </a:p>
        </p:txBody>
      </p:sp>
      <p:pic>
        <p:nvPicPr>
          <p:cNvPr id="2" name="Picture 1" descr="A chart with text on it&#10;&#10;Description automatically generated">
            <a:extLst>
              <a:ext uri="{FF2B5EF4-FFF2-40B4-BE49-F238E27FC236}">
                <a16:creationId xmlns:a16="http://schemas.microsoft.com/office/drawing/2014/main" id="{97804C9C-8246-F745-81C7-B7D92F5A12B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001" y="639152"/>
            <a:ext cx="11568403" cy="5914892"/>
          </a:xfrm>
          <a:prstGeom prst="rect">
            <a:avLst/>
          </a:prstGeom>
        </p:spPr>
      </p:pic>
      <p:sp>
        <p:nvSpPr>
          <p:cNvPr id="4" name="Rounded Rectangle 3"/>
          <p:cNvSpPr/>
          <p:nvPr/>
        </p:nvSpPr>
        <p:spPr>
          <a:xfrm>
            <a:off x="628073" y="5486400"/>
            <a:ext cx="3934691" cy="932873"/>
          </a:xfrm>
          <a:prstGeom prst="roundRect">
            <a:avLst/>
          </a:prstGeom>
          <a:solidFill>
            <a:srgbClr val="1C498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If you have an effective audit tool your team uses, please email to info@ilpqc.org</a:t>
            </a:r>
          </a:p>
        </p:txBody>
      </p:sp>
    </p:spTree>
    <p:extLst>
      <p:ext uri="{BB962C8B-B14F-4D97-AF65-F5344CB8AC3E}">
        <p14:creationId xmlns:p14="http://schemas.microsoft.com/office/powerpoint/2010/main" val="385491481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8" name="Rectangle 47">
            <a:extLst>
              <a:ext uri="{FF2B5EF4-FFF2-40B4-BE49-F238E27FC236}">
                <a16:creationId xmlns:a16="http://schemas.microsoft.com/office/drawing/2014/main" id="{D55CA618-78A6-47F6-B865-E9315164FB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83D307E-DF68-43F8-97CE-0AAE950A71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2271255" y="-1"/>
            <a:ext cx="7649490" cy="5728133"/>
            <a:chOff x="329184" y="1"/>
            <a:chExt cx="524256" cy="5728133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5546E3D2-37BF-4528-9851-2B2F628234A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</p:cNvCxnSpPr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CxnSpPr>
          <p:spPr>
            <a:xfrm flipH="1">
              <a:off x="329184" y="5728134"/>
              <a:ext cx="523824" cy="0"/>
            </a:xfrm>
            <a:prstGeom prst="line">
              <a:avLst/>
            </a:prstGeom>
            <a:ln w="152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752A0C69-DC4E-4FC0-843C-BAA27B3A562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29184" y="1"/>
              <a:ext cx="524256" cy="553211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8ED94938-268E-4C0A-A08A-B3980C78BA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96464" y="318045"/>
            <a:ext cx="10999072" cy="532513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EA843D1-FFA6-F335-FCAE-D0006CD57886}"/>
              </a:ext>
            </a:extLst>
          </p:cNvPr>
          <p:cNvSpPr txBox="1">
            <a:spLocks/>
          </p:cNvSpPr>
          <p:nvPr/>
        </p:nvSpPr>
        <p:spPr>
          <a:xfrm>
            <a:off x="1060232" y="3956001"/>
            <a:ext cx="10071536" cy="92975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Aft>
                <a:spcPts val="600"/>
              </a:spcAft>
            </a:pPr>
            <a:r>
              <a:rPr lang="en-US" sz="4000" b="1">
                <a:solidFill>
                  <a:srgbClr val="1C498B"/>
                </a:solidFill>
                <a:latin typeface="DM Sans"/>
              </a:rPr>
              <a:t>Media and Posters</a:t>
            </a:r>
            <a:endParaRPr lang="en-US" sz="4000">
              <a:solidFill>
                <a:srgbClr val="1C498B"/>
              </a:solidFill>
              <a:latin typeface="DM Sans"/>
            </a:endParaRPr>
          </a:p>
        </p:txBody>
      </p:sp>
      <p:pic>
        <p:nvPicPr>
          <p:cNvPr id="2" name="Picture 1" descr="A white background with black text&#10;&#10;Description automatically generated">
            <a:extLst>
              <a:ext uri="{FF2B5EF4-FFF2-40B4-BE49-F238E27FC236}">
                <a16:creationId xmlns:a16="http://schemas.microsoft.com/office/drawing/2014/main" id="{33B0EB46-F3B8-4A6E-B554-40A2B9616AF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"/>
          <a:stretch/>
        </p:blipFill>
        <p:spPr>
          <a:xfrm>
            <a:off x="791400" y="1094691"/>
            <a:ext cx="4958046" cy="2333991"/>
          </a:xfrm>
          <a:prstGeom prst="rect">
            <a:avLst/>
          </a:prstGeom>
        </p:spPr>
      </p:pic>
      <p:pic>
        <p:nvPicPr>
          <p:cNvPr id="4" name="Picture 3" descr="A collage of a baby in a crib&#10;&#10;Description automatically generated">
            <a:extLst>
              <a:ext uri="{FF2B5EF4-FFF2-40B4-BE49-F238E27FC236}">
                <a16:creationId xmlns:a16="http://schemas.microsoft.com/office/drawing/2014/main" id="{AD84D1CD-DA26-9552-EEFE-D60FB82D9BB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" b="-2"/>
          <a:stretch/>
        </p:blipFill>
        <p:spPr>
          <a:xfrm>
            <a:off x="6228507" y="1004697"/>
            <a:ext cx="5065776" cy="2332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31034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8098D5B-40F4-BEB3-4315-21FF429AE82D}"/>
              </a:ext>
            </a:extLst>
          </p:cNvPr>
          <p:cNvSpPr txBox="1">
            <a:spLocks/>
          </p:cNvSpPr>
          <p:nvPr/>
        </p:nvSpPr>
        <p:spPr>
          <a:xfrm>
            <a:off x="367812" y="585078"/>
            <a:ext cx="5080817" cy="1143000"/>
          </a:xfrm>
          <a:prstGeom prst="rect">
            <a:avLst/>
          </a:prstGeom>
          <a:noFill/>
        </p:spPr>
        <p:txBody>
          <a:bodyPr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Modeling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60267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ack grid with white squares&#10;&#10;Description automatically generated">
            <a:extLst>
              <a:ext uri="{FF2B5EF4-FFF2-40B4-BE49-F238E27FC236}">
                <a16:creationId xmlns:a16="http://schemas.microsoft.com/office/drawing/2014/main" id="{0C9EB722-627E-C2D1-C3F2-3B71B084D4C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76561" y="-46462"/>
            <a:ext cx="12619462" cy="6904463"/>
          </a:xfrm>
          <a:prstGeom prst="rect">
            <a:avLst/>
          </a:prstGeom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4883840-FDEC-E449-F7BA-E78CCEC4DD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250" y="57789"/>
            <a:ext cx="10972800" cy="1325563"/>
          </a:xfrm>
        </p:spPr>
        <p:txBody>
          <a:bodyPr/>
          <a:lstStyle/>
          <a:p>
            <a:r>
              <a:rPr lang="en-US" b="1">
                <a:solidFill>
                  <a:srgbClr val="1C498B"/>
                </a:solidFill>
                <a:ea typeface="+mj-lt"/>
                <a:cs typeface="+mj-lt"/>
              </a:rPr>
              <a:t>ESSI ABP MOC Part IV </a:t>
            </a:r>
            <a:endParaRPr lang="en-US" b="1">
              <a:solidFill>
                <a:srgbClr val="1C498B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26C49D-BF42-418D-9693-93ADFAD52C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53248"/>
            <a:ext cx="8466524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200">
                <a:ea typeface="+mn-lt"/>
                <a:cs typeface="+mn-lt"/>
              </a:rPr>
              <a:t>Complete an attestation form if you are an ABP-certified physician seeking </a:t>
            </a:r>
            <a:r>
              <a:rPr lang="en-US" sz="2200">
                <a:highlight>
                  <a:srgbClr val="FFFF00"/>
                </a:highlight>
                <a:ea typeface="+mn-lt"/>
                <a:cs typeface="+mn-lt"/>
              </a:rPr>
              <a:t>25 credits</a:t>
            </a:r>
            <a:r>
              <a:rPr lang="en-US" sz="2200">
                <a:ea typeface="+mn-lt"/>
                <a:cs typeface="+mn-lt"/>
              </a:rPr>
              <a:t> under </a:t>
            </a:r>
            <a:r>
              <a:rPr lang="en-US" sz="2200" b="1">
                <a:ea typeface="+mn-lt"/>
                <a:cs typeface="+mn-lt"/>
              </a:rPr>
              <a:t>MOC Part IV</a:t>
            </a:r>
            <a:endParaRPr lang="en-US" sz="2200" b="1"/>
          </a:p>
          <a:p>
            <a:r>
              <a:rPr lang="en-US" sz="2200">
                <a:ea typeface="+mn-lt"/>
                <a:cs typeface="+mn-lt"/>
              </a:rPr>
              <a:t>Submit the attestation form to your QI project leader for signature and send back to </a:t>
            </a:r>
            <a:r>
              <a:rPr lang="en-US" sz="2200">
                <a:ea typeface="+mn-lt"/>
                <a:cs typeface="+mn-lt"/>
                <a:hlinkClick r:id="rId4"/>
              </a:rPr>
              <a:t>info@ilpqc.org</a:t>
            </a:r>
            <a:r>
              <a:rPr lang="en-US" sz="2200">
                <a:ea typeface="+mn-lt"/>
                <a:cs typeface="+mn-lt"/>
              </a:rPr>
              <a:t> for credit in 2024 </a:t>
            </a:r>
            <a:endParaRPr lang="en-US" sz="2200"/>
          </a:p>
          <a:p>
            <a:r>
              <a:rPr lang="en-US" sz="2200" i="1">
                <a:ea typeface="+mn-lt"/>
                <a:cs typeface="+mn-lt"/>
              </a:rPr>
              <a:t>You can start submitting the attestation form in the fall </a:t>
            </a:r>
          </a:p>
          <a:p>
            <a:pPr marL="0" indent="0">
              <a:buNone/>
            </a:pPr>
            <a:endParaRPr lang="en-US" sz="2200">
              <a:ea typeface="+mn-lt"/>
              <a:cs typeface="+mn-lt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200">
                <a:ea typeface="+mn-lt"/>
                <a:cs typeface="+mn-lt"/>
              </a:rPr>
              <a:t>Attestation of Meaningful Participation:</a:t>
            </a:r>
            <a:endParaRPr lang="en-US" sz="2200"/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ea typeface="+mn-lt"/>
                <a:cs typeface="+mn-lt"/>
              </a:rPr>
              <a:t>Intellectually engaged in planning and executing the project</a:t>
            </a:r>
            <a:endParaRPr lang="en-US" sz="2200"/>
          </a:p>
          <a:p>
            <a:pPr lvl="1">
              <a:spcAft>
                <a:spcPts val="0"/>
              </a:spcAft>
            </a:pPr>
            <a:r>
              <a:rPr lang="en-US" sz="2200">
                <a:ea typeface="+mn-lt"/>
                <a:cs typeface="+mn-lt"/>
              </a:rPr>
              <a:t>Participated in implementing the project’s interventions - the changes designed to improve care</a:t>
            </a:r>
            <a:endParaRPr lang="en-US" sz="2200"/>
          </a:p>
          <a:p>
            <a:pPr lvl="1">
              <a:spcAft>
                <a:spcPts val="0"/>
              </a:spcAft>
            </a:pPr>
            <a:r>
              <a:rPr lang="en-US" sz="2200">
                <a:ea typeface="+mn-lt"/>
                <a:cs typeface="+mn-lt"/>
              </a:rPr>
              <a:t>Regularly reviewed data in keeping with the project’s measurement plan</a:t>
            </a:r>
            <a:endParaRPr lang="en-US" sz="2200"/>
          </a:p>
          <a:p>
            <a:pPr lvl="1"/>
            <a:r>
              <a:rPr lang="en-US" sz="2200">
                <a:ea typeface="+mn-lt"/>
                <a:cs typeface="+mn-lt"/>
              </a:rPr>
              <a:t>Collaborated in the activity by attending team meetings </a:t>
            </a:r>
            <a:endParaRPr lang="en-US" sz="2200"/>
          </a:p>
          <a:p>
            <a:endParaRPr lang="en-US" sz="18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F35830-C5FE-E5C4-C61D-410AD9C7A3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78B19A-05AA-8C14-5B7B-8A35C6FAC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6" descr="Doctor holding sign">
            <a:extLst>
              <a:ext uri="{FF2B5EF4-FFF2-40B4-BE49-F238E27FC236}">
                <a16:creationId xmlns:a16="http://schemas.microsoft.com/office/drawing/2014/main" id="{C8696215-900E-969A-3473-1717E6CDA9C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3207" y="1894043"/>
            <a:ext cx="2994102" cy="425338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16805E0-89D4-BF27-D15D-32B88E416414}"/>
              </a:ext>
            </a:extLst>
          </p:cNvPr>
          <p:cNvSpPr txBox="1"/>
          <p:nvPr/>
        </p:nvSpPr>
        <p:spPr>
          <a:xfrm>
            <a:off x="9171578" y="3192566"/>
            <a:ext cx="2220950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 b="1">
                <a:latin typeface="Cavolini"/>
                <a:cs typeface="Calibri"/>
              </a:rPr>
              <a:t>Claim your credits!</a:t>
            </a:r>
            <a:endParaRPr lang="en-US" sz="2400">
              <a:latin typeface="Cavolin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3354318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CDC4EAA-3EBC-0183-EE94-CFB2EBCC1B1B}"/>
              </a:ext>
            </a:extLst>
          </p:cNvPr>
          <p:cNvSpPr txBox="1">
            <a:spLocks/>
          </p:cNvSpPr>
          <p:nvPr/>
        </p:nvSpPr>
        <p:spPr>
          <a:xfrm>
            <a:off x="-1385527" y="225270"/>
            <a:ext cx="8099224" cy="1143000"/>
          </a:xfrm>
          <a:prstGeom prst="rect">
            <a:avLst/>
          </a:prstGeom>
          <a:noFill/>
        </p:spPr>
        <p:txBody>
          <a:bodyPr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Modeling in the NICU </a:t>
            </a:r>
            <a:endParaRPr lang="en-US"/>
          </a:p>
        </p:txBody>
      </p:sp>
      <p:pic>
        <p:nvPicPr>
          <p:cNvPr id="4" name="Picture 3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97C8462D-EC6B-C1F4-CD0C-50F0D54254B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8274" y="51046"/>
            <a:ext cx="5285238" cy="4114800"/>
          </a:xfrm>
          <a:prstGeom prst="rect">
            <a:avLst/>
          </a:prstGeom>
        </p:spPr>
      </p:pic>
      <p:pic>
        <p:nvPicPr>
          <p:cNvPr id="5" name="Picture 4" descr="A baby in a hospital bed&#10;&#10;Description automatically generated">
            <a:extLst>
              <a:ext uri="{FF2B5EF4-FFF2-40B4-BE49-F238E27FC236}">
                <a16:creationId xmlns:a16="http://schemas.microsoft.com/office/drawing/2014/main" id="{DAF453A7-AA39-CD40-8228-6C6A8D67698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48" y="1079378"/>
            <a:ext cx="3588998" cy="3596936"/>
          </a:xfrm>
          <a:prstGeom prst="rect">
            <a:avLst/>
          </a:prstGeom>
        </p:spPr>
      </p:pic>
      <p:pic>
        <p:nvPicPr>
          <p:cNvPr id="7" name="Picture 6" descr="A baby with a tube on its nose&#10;&#10;Description automatically generated">
            <a:extLst>
              <a:ext uri="{FF2B5EF4-FFF2-40B4-BE49-F238E27FC236}">
                <a16:creationId xmlns:a16="http://schemas.microsoft.com/office/drawing/2014/main" id="{EE1ECBB4-38B8-59AD-A60E-84D694C6AE8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2492" y="2928891"/>
            <a:ext cx="3441189" cy="3619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57221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DCDBD-ABC3-227F-296A-AB2A751A5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solidFill>
                  <a:srgbClr val="1C498B"/>
                </a:solidFill>
              </a:rPr>
              <a:t>Honoring Patient Stor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8E031C-2754-DA4C-2DB5-5F5A4871F55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70284" y="1630603"/>
            <a:ext cx="10251432" cy="4351338"/>
          </a:xfrm>
        </p:spPr>
        <p:txBody>
          <a:bodyPr/>
          <a:lstStyle/>
          <a:p>
            <a:r>
              <a:rPr lang="en-US" b="1"/>
              <a:t>Stories have the power to connect in a way that sharing data and guidelines cannot. Stories raise awareness, help people remember, and motivate to act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41219A5-6E3E-A4D0-7C0D-C894920447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312069" y="3015598"/>
            <a:ext cx="4399767" cy="4351338"/>
          </a:xfrm>
        </p:spPr>
        <p:txBody>
          <a:bodyPr/>
          <a:lstStyle/>
          <a:p>
            <a:r>
              <a:rPr lang="en-US" sz="2800">
                <a:cs typeface="Calibri"/>
              </a:rPr>
              <a:t>What does this story teach you about helping families plan for what to do when they are tired? </a:t>
            </a:r>
          </a:p>
          <a:p>
            <a:r>
              <a:rPr lang="en-US" sz="2800">
                <a:cs typeface="Calibri"/>
              </a:rPr>
              <a:t>How does this story help you understand the importance of following the safe sleep guidelines? </a:t>
            </a:r>
          </a:p>
          <a:p>
            <a:endParaRPr lang="en-US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354FA18B-45E7-A009-A3E5-273ECF3587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56121"/>
            <a:ext cx="341760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4400" b="0" i="0" u="none" strike="noStrike" cap="none" normalizeH="0" baseline="0">
                <a:ln>
                  <a:noFill/>
                </a:ln>
                <a:solidFill>
                  <a:srgbClr val="FFFFFF"/>
                </a:solidFill>
                <a:effectLst/>
                <a:latin typeface="ArialMT"/>
              </a:rPr>
              <a:t> </a:t>
            </a:r>
            <a:endParaRPr kumimoji="0" lang="en-US" altLang="en-US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918BA79-95D8-81B5-734C-0ED6D977A73B}"/>
              </a:ext>
            </a:extLst>
          </p:cNvPr>
          <p:cNvSpPr txBox="1"/>
          <p:nvPr/>
        </p:nvSpPr>
        <p:spPr>
          <a:xfrm>
            <a:off x="1152115" y="3113774"/>
            <a:ext cx="6093912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/>
              <a:t>Charlie’s Kid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/>
              <a:t>Family Stories of Sleep-Related Deaths </a:t>
            </a:r>
            <a:r>
              <a:rPr lang="en-US" sz="2800" err="1"/>
              <a:t>Michigan.gov</a:t>
            </a:r>
            <a:endParaRPr lang="en-US" sz="2800"/>
          </a:p>
        </p:txBody>
      </p:sp>
      <p:pic>
        <p:nvPicPr>
          <p:cNvPr id="10" name="Picture 9" descr="A person holding a baby&#10;&#10;Description automatically generated">
            <a:extLst>
              <a:ext uri="{FF2B5EF4-FFF2-40B4-BE49-F238E27FC236}">
                <a16:creationId xmlns:a16="http://schemas.microsoft.com/office/drawing/2014/main" id="{64835386-2CE2-1459-FD61-9F38009C480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6652" y="4627286"/>
            <a:ext cx="3750816" cy="2096241"/>
          </a:xfrm>
          <a:prstGeom prst="rect">
            <a:avLst/>
          </a:prstGeom>
        </p:spPr>
      </p:pic>
      <p:pic>
        <p:nvPicPr>
          <p:cNvPr id="8193" name="Picture 1" descr="page5image1534923168">
            <a:extLst>
              <a:ext uri="{FF2B5EF4-FFF2-40B4-BE49-F238E27FC236}">
                <a16:creationId xmlns:a16="http://schemas.microsoft.com/office/drawing/2014/main" id="{0EFFC8FD-4DDB-9FB6-00CC-D1CFA318C3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473200" cy="55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7" name="Picture 5" descr="page5image1534923168">
            <a:extLst>
              <a:ext uri="{FF2B5EF4-FFF2-40B4-BE49-F238E27FC236}">
                <a16:creationId xmlns:a16="http://schemas.microsoft.com/office/drawing/2014/main" id="{F860B03C-C9D1-65CF-3136-D6B54EE01B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473200" cy="55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418420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686C1D10-06DF-5AA3-A7E3-0795B870CE23}"/>
              </a:ext>
            </a:extLst>
          </p:cNvPr>
          <p:cNvSpPr txBox="1">
            <a:spLocks/>
          </p:cNvSpPr>
          <p:nvPr/>
        </p:nvSpPr>
        <p:spPr>
          <a:xfrm>
            <a:off x="147732" y="2237121"/>
            <a:ext cx="3450941" cy="2280188"/>
          </a:xfrm>
          <a:prstGeom prst="ellipse">
            <a:avLst/>
          </a:prstGeom>
          <a:solidFill>
            <a:srgbClr val="F66695"/>
          </a:solidFill>
          <a:ln w="174625" cmpd="thinThick">
            <a:solidFill>
              <a:srgbClr val="1B477A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2400" kern="1200">
                <a:solidFill>
                  <a:srgbClr val="FFFFFF"/>
                </a:solidFill>
                <a:latin typeface="Aptos"/>
                <a:ea typeface="+mj-ea"/>
                <a:cs typeface="+mj-cs"/>
              </a:rPr>
              <a:t>Example Education Implementation Pla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3B7267-734E-2D2B-EA6B-A913BC2626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10257" y="6356350"/>
            <a:ext cx="560009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rgbClr val="898989"/>
                </a:solidFill>
              </a:rPr>
              <a:pPr>
                <a:spcAft>
                  <a:spcPts val="600"/>
                </a:spcAft>
              </a:pPr>
              <a:t>42</a:t>
            </a:fld>
            <a:endParaRPr lang="en-US">
              <a:solidFill>
                <a:srgbClr val="898989"/>
              </a:solidFill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6BEF143-BE78-A8CA-ABC3-991E25164C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909264"/>
              </p:ext>
            </p:extLst>
          </p:nvPr>
        </p:nvGraphicFramePr>
        <p:xfrm>
          <a:off x="3758454" y="528893"/>
          <a:ext cx="8285814" cy="5698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2155">
                  <a:extLst>
                    <a:ext uri="{9D8B030D-6E8A-4147-A177-3AD203B41FA5}">
                      <a16:colId xmlns:a16="http://schemas.microsoft.com/office/drawing/2014/main" val="3191050412"/>
                    </a:ext>
                  </a:extLst>
                </a:gridCol>
                <a:gridCol w="7353659">
                  <a:extLst>
                    <a:ext uri="{9D8B030D-6E8A-4147-A177-3AD203B41FA5}">
                      <a16:colId xmlns:a16="http://schemas.microsoft.com/office/drawing/2014/main" val="3816732964"/>
                    </a:ext>
                  </a:extLst>
                </a:gridCol>
              </a:tblGrid>
              <a:tr h="403577">
                <a:tc gridSpan="2">
                  <a:txBody>
                    <a:bodyPr/>
                    <a:lstStyle/>
                    <a:p>
                      <a:r>
                        <a:rPr lang="en-US" b="0">
                          <a:solidFill>
                            <a:schemeClr val="tx1"/>
                          </a:solidFill>
                          <a:latin typeface="DM Sans"/>
                        </a:rPr>
                        <a:t>Meet with ESSI QI Team and Review Updated AAP Guidelines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E7E9E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b="0">
                        <a:solidFill>
                          <a:schemeClr val="tx1"/>
                        </a:solidFill>
                        <a:latin typeface="DM Sans"/>
                      </a:endParaRP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rgbClr val="E7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7775988"/>
                  </a:ext>
                </a:extLst>
              </a:tr>
              <a:tr h="671491">
                <a:tc gridSpan="2"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b="1">
                          <a:solidFill>
                            <a:srgbClr val="1C498B"/>
                          </a:solidFill>
                          <a:latin typeface="DM Sans"/>
                        </a:rPr>
                        <a:t>Step 1:</a:t>
                      </a:r>
                      <a:r>
                        <a:rPr lang="en-US" b="1">
                          <a:latin typeface="DM Sans"/>
                        </a:rPr>
                        <a:t> </a:t>
                      </a:r>
                      <a:r>
                        <a:rPr lang="en-US">
                          <a:latin typeface="DM Sans"/>
                        </a:rPr>
                        <a:t>Review current safe sleep policy and update policy to reflect 2022 AAP Recommendations. </a:t>
                      </a:r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0638650"/>
                  </a:ext>
                </a:extLst>
              </a:tr>
              <a:tr h="434622">
                <a:tc gridSpan="2">
                  <a:txBody>
                    <a:bodyPr/>
                    <a:lstStyle/>
                    <a:p>
                      <a:r>
                        <a:rPr lang="en-US" b="1">
                          <a:solidFill>
                            <a:srgbClr val="1C498B"/>
                          </a:solidFill>
                          <a:latin typeface="DM Sans"/>
                        </a:rPr>
                        <a:t>Step 2:</a:t>
                      </a:r>
                      <a:r>
                        <a:rPr lang="en-US" b="0">
                          <a:latin typeface="DM Sans"/>
                        </a:rPr>
                        <a:t> Education on Safe Sleep Guidelines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b="0">
                        <a:latin typeface="DM Sans"/>
                      </a:endParaRP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2118870"/>
                  </a:ext>
                </a:extLst>
              </a:tr>
              <a:tr h="895321">
                <a:tc rowSpan="2">
                  <a:txBody>
                    <a:bodyPr/>
                    <a:lstStyle/>
                    <a:p>
                      <a:pPr lvl="0">
                        <a:buNone/>
                      </a:pPr>
                      <a:endParaRPr lang="en-US" b="0">
                        <a:latin typeface="DM Sans"/>
                      </a:endParaRP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700" b="0">
                          <a:latin typeface="DM Sans"/>
                        </a:rPr>
                        <a:t>Disseminate Cribs for Kids Ambassador Training &amp; have staff email completion certificate </a:t>
                      </a:r>
                    </a:p>
                    <a:p>
                      <a:pPr lvl="0">
                        <a:buNone/>
                      </a:pPr>
                      <a:r>
                        <a:rPr lang="en-US" sz="1600" b="0" i="1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Utilize supplementary readings for guidance on NICU practices. </a:t>
                      </a:r>
                      <a:endParaRPr lang="en-US" sz="160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3683185"/>
                  </a:ext>
                </a:extLst>
              </a:tr>
              <a:tr h="895321">
                <a:tc vMerge="1">
                  <a:txBody>
                    <a:bodyPr/>
                    <a:lstStyle/>
                    <a:p>
                      <a:pPr lvl="0">
                        <a:buNone/>
                      </a:pPr>
                      <a:endParaRPr lang="en-US" b="0">
                        <a:latin typeface="DM Sans"/>
                      </a:endParaRP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700" b="0">
                          <a:latin typeface="DM Sans"/>
                        </a:rPr>
                        <a:t>Complete hospital-endorsed safe sleep e-module (if reflective of 2022 changes)</a:t>
                      </a:r>
                    </a:p>
                    <a:p>
                      <a:pPr lvl="0">
                        <a:buNone/>
                      </a:pPr>
                      <a:r>
                        <a:rPr lang="en-US" sz="1600" b="0" i="1" u="none" strike="noStrike" noProof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Utilize supplementary readings for guidance on NICU practices. </a:t>
                      </a:r>
                      <a:endParaRPr lang="en-US" sz="160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1047825"/>
                  </a:ext>
                </a:extLst>
              </a:tr>
              <a:tr h="959273">
                <a:tc gridSpan="2"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b="1">
                          <a:solidFill>
                            <a:srgbClr val="1C498B"/>
                          </a:solidFill>
                          <a:latin typeface="DM Sans"/>
                        </a:rPr>
                        <a:t>Step 3:</a:t>
                      </a:r>
                      <a:r>
                        <a:rPr lang="en-US" b="0">
                          <a:latin typeface="DM Sans"/>
                        </a:rPr>
                        <a:t> </a:t>
                      </a:r>
                      <a:r>
                        <a:rPr lang="en-US">
                          <a:latin typeface="DM Sans"/>
                        </a:rPr>
                        <a:t>Endorse safe sleep practices and </a:t>
                      </a:r>
                      <a:r>
                        <a:rPr lang="en-US" b="0">
                          <a:latin typeface="DM Sans"/>
                        </a:rPr>
                        <a:t>incorporate various forms </a:t>
                      </a:r>
                      <a:r>
                        <a:rPr lang="en-US">
                          <a:latin typeface="DM Sans"/>
                        </a:rPr>
                        <a:t>of safe sleep education into orientation, annual competencies and ongoing education.</a:t>
                      </a:r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/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6276108"/>
                  </a:ext>
                </a:extLst>
              </a:tr>
              <a:tr h="383709">
                <a:tc gridSpan="2"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0">
                          <a:latin typeface="DM Sans"/>
                        </a:rPr>
                        <a:t>Conduct crib audits at a regular frequency 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chemeClr val="tx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>
                        <a:buNone/>
                      </a:pPr>
                      <a:endParaRPr lang="en-US" b="0">
                        <a:latin typeface="DM Sans"/>
                      </a:endParaRP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4884553"/>
                  </a:ext>
                </a:extLst>
              </a:tr>
              <a:tr h="671491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>
                          <a:latin typeface="DM Sans"/>
                        </a:rPr>
                        <a:t>Utilize safe sleep images/posters and crib cards that reinforce AAP recommendations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725719"/>
                  </a:ext>
                </a:extLst>
              </a:tr>
              <a:tr h="383709">
                <a:tc gridSpan="2"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0">
                          <a:latin typeface="DM Sans"/>
                        </a:rPr>
                        <a:t>Share a patient story and debrief, what other things could we do?</a:t>
                      </a:r>
                    </a:p>
                  </a:txBody>
                  <a:tcPr>
                    <a:lnL w="12700">
                      <a:solidFill>
                        <a:schemeClr val="tx1"/>
                      </a:solidFill>
                    </a:lnL>
                    <a:lnR w="12700">
                      <a:solidFill>
                        <a:schemeClr val="tx1"/>
                      </a:solidFill>
                    </a:lnR>
                    <a:lnT w="12700">
                      <a:solidFill>
                        <a:schemeClr val="tx1"/>
                      </a:solidFill>
                    </a:lnT>
                    <a:lnB w="12700">
                      <a:solidFill>
                        <a:schemeClr val="tx1"/>
                      </a:solidFill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7099837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23D3D1C4-ED33-186D-6AF2-9D41ABB3C767}"/>
              </a:ext>
            </a:extLst>
          </p:cNvPr>
          <p:cNvSpPr/>
          <p:nvPr/>
        </p:nvSpPr>
        <p:spPr>
          <a:xfrm>
            <a:off x="7175" y="0"/>
            <a:ext cx="12236611" cy="520675"/>
          </a:xfrm>
          <a:prstGeom prst="rect">
            <a:avLst/>
          </a:prstGeom>
          <a:solidFill>
            <a:srgbClr val="1C498B"/>
          </a:solidFill>
          <a:ln>
            <a:solidFill>
              <a:srgbClr val="1C498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998A82-02F4-0628-98CD-6F86D250B29A}"/>
              </a:ext>
            </a:extLst>
          </p:cNvPr>
          <p:cNvSpPr/>
          <p:nvPr/>
        </p:nvSpPr>
        <p:spPr>
          <a:xfrm>
            <a:off x="-73982" y="6261125"/>
            <a:ext cx="12324944" cy="596875"/>
          </a:xfrm>
          <a:prstGeom prst="rect">
            <a:avLst/>
          </a:prstGeom>
          <a:solidFill>
            <a:srgbClr val="1C498B"/>
          </a:solidFill>
          <a:ln>
            <a:solidFill>
              <a:srgbClr val="1C498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09151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04891" y="2361335"/>
            <a:ext cx="10193962" cy="2014679"/>
          </a:xfrm>
        </p:spPr>
        <p:txBody>
          <a:bodyPr/>
          <a:lstStyle/>
          <a:p>
            <a:r>
              <a:rPr lang="en-US" b="0" dirty="0">
                <a:latin typeface="DM Sans"/>
                <a:ea typeface="Lato Medium"/>
                <a:cs typeface="Lato Medium"/>
              </a:rPr>
              <a:t>Share in the chat!</a:t>
            </a:r>
            <a:br>
              <a:rPr lang="en-US" dirty="0">
                <a:latin typeface="DM Sans"/>
                <a:ea typeface="Lato Medium"/>
                <a:cs typeface="Lato Medium"/>
              </a:rPr>
            </a:br>
            <a:br>
              <a:rPr lang="en-US" dirty="0">
                <a:latin typeface="DM Sans"/>
                <a:ea typeface="Lato Medium"/>
                <a:cs typeface="Lato Medium"/>
              </a:rPr>
            </a:br>
            <a:r>
              <a:rPr lang="en-US" dirty="0">
                <a:latin typeface="DM Sans"/>
                <a:ea typeface="Lato Medium"/>
                <a:cs typeface="Lato Medium"/>
              </a:rPr>
              <a:t>Does your hospital use any creative ways to educate your providers, nurses and staff on Safe Sleep?</a:t>
            </a:r>
            <a:endParaRPr lang="en-US" dirty="0">
              <a:latin typeface="DM Sans"/>
            </a:endParaRPr>
          </a:p>
        </p:txBody>
      </p:sp>
    </p:spTree>
    <p:extLst>
      <p:ext uri="{BB962C8B-B14F-4D97-AF65-F5344CB8AC3E}">
        <p14:creationId xmlns:p14="http://schemas.microsoft.com/office/powerpoint/2010/main" val="219364370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5842568" y="4307005"/>
            <a:ext cx="5144921" cy="1596587"/>
          </a:xfrm>
          <a:custGeom>
            <a:avLst/>
            <a:gdLst/>
            <a:ahLst/>
            <a:cxnLst/>
            <a:rect l="l" t="t" r="r" b="b"/>
            <a:pathLst>
              <a:path w="7717382" h="2394881">
                <a:moveTo>
                  <a:pt x="0" y="0"/>
                </a:moveTo>
                <a:lnTo>
                  <a:pt x="7717383" y="0"/>
                </a:lnTo>
                <a:lnTo>
                  <a:pt x="7717383" y="2394881"/>
                </a:lnTo>
                <a:lnTo>
                  <a:pt x="0" y="2394881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alphaModFix amt="4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" name="Group 3"/>
          <p:cNvGrpSpPr/>
          <p:nvPr/>
        </p:nvGrpSpPr>
        <p:grpSpPr>
          <a:xfrm>
            <a:off x="5686106" y="4778862"/>
            <a:ext cx="5450071" cy="1482395"/>
            <a:chOff x="0" y="0"/>
            <a:chExt cx="2156186" cy="4289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FFC000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6" name="Freeform 6"/>
          <p:cNvSpPr/>
          <p:nvPr/>
        </p:nvSpPr>
        <p:spPr>
          <a:xfrm>
            <a:off x="5827017" y="2476089"/>
            <a:ext cx="5144921" cy="1596587"/>
          </a:xfrm>
          <a:custGeom>
            <a:avLst/>
            <a:gdLst/>
            <a:ahLst/>
            <a:cxnLst/>
            <a:rect l="l" t="t" r="r" b="b"/>
            <a:pathLst>
              <a:path w="7717382" h="2394881">
                <a:moveTo>
                  <a:pt x="0" y="0"/>
                </a:moveTo>
                <a:lnTo>
                  <a:pt x="7717383" y="0"/>
                </a:lnTo>
                <a:lnTo>
                  <a:pt x="7717383" y="2394881"/>
                </a:lnTo>
                <a:lnTo>
                  <a:pt x="0" y="2394881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alphaModFix amt="40000"/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7" name="Group 7"/>
          <p:cNvGrpSpPr/>
          <p:nvPr/>
        </p:nvGrpSpPr>
        <p:grpSpPr>
          <a:xfrm>
            <a:off x="5678330" y="2778546"/>
            <a:ext cx="5457846" cy="1785639"/>
            <a:chOff x="0" y="0"/>
            <a:chExt cx="2156186" cy="428975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BD429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TextBox 9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19" name="AutoShape 19"/>
          <p:cNvSpPr/>
          <p:nvPr/>
        </p:nvSpPr>
        <p:spPr>
          <a:xfrm flipV="1">
            <a:off x="6777080" y="3339445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20" name="AutoShape 20"/>
          <p:cNvSpPr/>
          <p:nvPr/>
        </p:nvSpPr>
        <p:spPr>
          <a:xfrm flipV="1">
            <a:off x="6668223" y="5173242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21" name="AutoShape 21"/>
          <p:cNvSpPr/>
          <p:nvPr/>
        </p:nvSpPr>
        <p:spPr>
          <a:xfrm>
            <a:off x="5686105" y="809084"/>
            <a:ext cx="1488295" cy="0"/>
          </a:xfrm>
          <a:prstGeom prst="line">
            <a:avLst/>
          </a:prstGeom>
          <a:ln w="3810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22" name="Freeform 22"/>
          <p:cNvSpPr/>
          <p:nvPr/>
        </p:nvSpPr>
        <p:spPr>
          <a:xfrm>
            <a:off x="-846965" y="4892042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0"/>
                </a:moveTo>
                <a:lnTo>
                  <a:pt x="1674224" y="0"/>
                </a:lnTo>
                <a:lnTo>
                  <a:pt x="1674224" y="3639618"/>
                </a:lnTo>
                <a:lnTo>
                  <a:pt x="0" y="3639618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3" name="Freeform 23"/>
          <p:cNvSpPr/>
          <p:nvPr/>
        </p:nvSpPr>
        <p:spPr>
          <a:xfrm flipV="1">
            <a:off x="11549785" y="-576427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3639618"/>
                </a:moveTo>
                <a:lnTo>
                  <a:pt x="1674224" y="3639618"/>
                </a:lnTo>
                <a:lnTo>
                  <a:pt x="1674224" y="0"/>
                </a:lnTo>
                <a:lnTo>
                  <a:pt x="0" y="0"/>
                </a:lnTo>
                <a:lnTo>
                  <a:pt x="0" y="3639618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24" name="Group 24"/>
          <p:cNvGrpSpPr/>
          <p:nvPr/>
        </p:nvGrpSpPr>
        <p:grpSpPr>
          <a:xfrm>
            <a:off x="11377921" y="6168748"/>
            <a:ext cx="1368800" cy="1368800"/>
            <a:chOff x="0" y="0"/>
            <a:chExt cx="812800" cy="812800"/>
          </a:xfrm>
        </p:grpSpPr>
        <p:sp>
          <p:nvSpPr>
            <p:cNvPr id="25" name="Freeform 25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TextBox 26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27" name="Group 27"/>
          <p:cNvGrpSpPr/>
          <p:nvPr/>
        </p:nvGrpSpPr>
        <p:grpSpPr>
          <a:xfrm>
            <a:off x="-415216" y="-654827"/>
            <a:ext cx="1368800" cy="1368800"/>
            <a:chOff x="0" y="0"/>
            <a:chExt cx="812800" cy="812800"/>
          </a:xfrm>
        </p:grpSpPr>
        <p:sp>
          <p:nvSpPr>
            <p:cNvPr id="28" name="Freeform 2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TextBox 29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sp>
        <p:nvSpPr>
          <p:cNvPr id="30" name="Freeform 30"/>
          <p:cNvSpPr/>
          <p:nvPr/>
        </p:nvSpPr>
        <p:spPr>
          <a:xfrm>
            <a:off x="3087435" y="6270053"/>
            <a:ext cx="1227815" cy="385227"/>
          </a:xfrm>
          <a:custGeom>
            <a:avLst/>
            <a:gdLst/>
            <a:ahLst/>
            <a:cxnLst/>
            <a:rect l="l" t="t" r="r" b="b"/>
            <a:pathLst>
              <a:path w="1841723" h="577841">
                <a:moveTo>
                  <a:pt x="0" y="0"/>
                </a:moveTo>
                <a:lnTo>
                  <a:pt x="1841723" y="0"/>
                </a:lnTo>
                <a:lnTo>
                  <a:pt x="1841723" y="577841"/>
                </a:lnTo>
                <a:lnTo>
                  <a:pt x="0" y="577841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1" name="Freeform 31"/>
          <p:cNvSpPr/>
          <p:nvPr/>
        </p:nvSpPr>
        <p:spPr>
          <a:xfrm rot="16200000">
            <a:off x="9841654" y="5245981"/>
            <a:ext cx="1167003" cy="2743200"/>
          </a:xfrm>
          <a:custGeom>
            <a:avLst/>
            <a:gdLst/>
            <a:ahLst/>
            <a:cxnLst/>
            <a:rect l="l" t="t" r="r" b="b"/>
            <a:pathLst>
              <a:path w="1750505" h="4114800">
                <a:moveTo>
                  <a:pt x="0" y="0"/>
                </a:moveTo>
                <a:lnTo>
                  <a:pt x="1750504" y="0"/>
                </a:lnTo>
                <a:lnTo>
                  <a:pt x="1750504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2" name="Freeform 32"/>
          <p:cNvSpPr/>
          <p:nvPr/>
        </p:nvSpPr>
        <p:spPr>
          <a:xfrm rot="16200000">
            <a:off x="5472130" y="-1701101"/>
            <a:ext cx="1167003" cy="2743200"/>
          </a:xfrm>
          <a:custGeom>
            <a:avLst/>
            <a:gdLst/>
            <a:ahLst/>
            <a:cxnLst/>
            <a:rect l="l" t="t" r="r" b="b"/>
            <a:pathLst>
              <a:path w="1750505" h="4114800">
                <a:moveTo>
                  <a:pt x="0" y="0"/>
                </a:moveTo>
                <a:lnTo>
                  <a:pt x="1750505" y="0"/>
                </a:lnTo>
                <a:lnTo>
                  <a:pt x="1750505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3" name="Freeform 33"/>
          <p:cNvSpPr/>
          <p:nvPr/>
        </p:nvSpPr>
        <p:spPr>
          <a:xfrm>
            <a:off x="396776" y="5994227"/>
            <a:ext cx="1566169" cy="732711"/>
          </a:xfrm>
          <a:custGeom>
            <a:avLst/>
            <a:gdLst/>
            <a:ahLst/>
            <a:cxnLst/>
            <a:rect l="l" t="t" r="r" b="b"/>
            <a:pathLst>
              <a:path w="2349253" h="1099066">
                <a:moveTo>
                  <a:pt x="0" y="0"/>
                </a:moveTo>
                <a:lnTo>
                  <a:pt x="2349253" y="0"/>
                </a:lnTo>
                <a:lnTo>
                  <a:pt x="2349253" y="1099066"/>
                </a:lnTo>
                <a:lnTo>
                  <a:pt x="0" y="1099066"/>
                </a:lnTo>
                <a:lnTo>
                  <a:pt x="0" y="0"/>
                </a:lnTo>
                <a:close/>
              </a:path>
            </a:pathLst>
          </a:custGeom>
          <a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4" name="TextBox 34"/>
          <p:cNvSpPr txBox="1"/>
          <p:nvPr/>
        </p:nvSpPr>
        <p:spPr>
          <a:xfrm>
            <a:off x="730288" y="634437"/>
            <a:ext cx="4632329" cy="185717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733"/>
              </a:lnSpc>
            </a:pPr>
            <a:r>
              <a:rPr lang="en-US" sz="2666" spc="111">
                <a:solidFill>
                  <a:srgbClr val="000000"/>
                </a:solidFill>
                <a:latin typeface="Barlow Bold"/>
              </a:rPr>
              <a:t>DRIVER 1: </a:t>
            </a:r>
          </a:p>
          <a:p>
            <a:pPr>
              <a:lnSpc>
                <a:spcPts val="3733"/>
              </a:lnSpc>
            </a:pPr>
            <a:r>
              <a:rPr lang="en-US" sz="2666" spc="111">
                <a:solidFill>
                  <a:srgbClr val="000000"/>
                </a:solidFill>
                <a:latin typeface="Barlow Bold"/>
              </a:rPr>
              <a:t>HEALTHCARE PROFESSIONAL COMMITMENT​</a:t>
            </a:r>
          </a:p>
        </p:txBody>
      </p:sp>
      <p:sp>
        <p:nvSpPr>
          <p:cNvPr id="38" name="Freeform 38"/>
          <p:cNvSpPr/>
          <p:nvPr/>
        </p:nvSpPr>
        <p:spPr>
          <a:xfrm>
            <a:off x="3376180" y="930561"/>
            <a:ext cx="1242138" cy="1438075"/>
          </a:xfrm>
          <a:custGeom>
            <a:avLst/>
            <a:gdLst/>
            <a:ahLst/>
            <a:cxnLst/>
            <a:rect l="l" t="t" r="r" b="b"/>
            <a:pathLst>
              <a:path w="1863207" h="2157113">
                <a:moveTo>
                  <a:pt x="0" y="0"/>
                </a:moveTo>
                <a:lnTo>
                  <a:pt x="1863206" y="0"/>
                </a:lnTo>
                <a:lnTo>
                  <a:pt x="1863206" y="2157113"/>
                </a:lnTo>
                <a:lnTo>
                  <a:pt x="0" y="2157113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9" name="Group 39"/>
          <p:cNvGrpSpPr/>
          <p:nvPr/>
        </p:nvGrpSpPr>
        <p:grpSpPr>
          <a:xfrm>
            <a:off x="471488" y="2773202"/>
            <a:ext cx="3787056" cy="1387588"/>
            <a:chOff x="0" y="0"/>
            <a:chExt cx="1290616" cy="472885"/>
          </a:xfrm>
        </p:grpSpPr>
        <p:sp>
          <p:nvSpPr>
            <p:cNvPr id="40" name="Freeform 40"/>
            <p:cNvSpPr/>
            <p:nvPr/>
          </p:nvSpPr>
          <p:spPr>
            <a:xfrm>
              <a:off x="0" y="0"/>
              <a:ext cx="1290616" cy="472885"/>
            </a:xfrm>
            <a:custGeom>
              <a:avLst/>
              <a:gdLst/>
              <a:ahLst/>
              <a:cxnLst/>
              <a:rect l="l" t="t" r="r" b="b"/>
              <a:pathLst>
                <a:path w="1290616" h="472885">
                  <a:moveTo>
                    <a:pt x="27257" y="0"/>
                  </a:moveTo>
                  <a:lnTo>
                    <a:pt x="1263358" y="0"/>
                  </a:lnTo>
                  <a:cubicBezTo>
                    <a:pt x="1270587" y="0"/>
                    <a:pt x="1277520" y="2872"/>
                    <a:pt x="1282632" y="7984"/>
                  </a:cubicBezTo>
                  <a:cubicBezTo>
                    <a:pt x="1287744" y="13095"/>
                    <a:pt x="1290616" y="20028"/>
                    <a:pt x="1290616" y="27257"/>
                  </a:cubicBezTo>
                  <a:lnTo>
                    <a:pt x="1290616" y="445628"/>
                  </a:lnTo>
                  <a:cubicBezTo>
                    <a:pt x="1290616" y="460682"/>
                    <a:pt x="1278412" y="472885"/>
                    <a:pt x="1263358" y="472885"/>
                  </a:cubicBezTo>
                  <a:lnTo>
                    <a:pt x="27257" y="472885"/>
                  </a:lnTo>
                  <a:cubicBezTo>
                    <a:pt x="12204" y="472885"/>
                    <a:pt x="0" y="460682"/>
                    <a:pt x="0" y="445628"/>
                  </a:cubicBezTo>
                  <a:lnTo>
                    <a:pt x="0" y="27257"/>
                  </a:lnTo>
                  <a:cubicBezTo>
                    <a:pt x="0" y="12204"/>
                    <a:pt x="12204" y="0"/>
                    <a:pt x="27257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BD4291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TextBox 41"/>
            <p:cNvSpPr txBox="1"/>
            <p:nvPr/>
          </p:nvSpPr>
          <p:spPr>
            <a:xfrm>
              <a:off x="0" y="-38100"/>
              <a:ext cx="1290616" cy="51098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43" name="Group 43"/>
          <p:cNvGrpSpPr/>
          <p:nvPr/>
        </p:nvGrpSpPr>
        <p:grpSpPr>
          <a:xfrm>
            <a:off x="5670555" y="1114144"/>
            <a:ext cx="5457846" cy="1521272"/>
            <a:chOff x="0" y="0"/>
            <a:chExt cx="2156186" cy="428975"/>
          </a:xfrm>
        </p:grpSpPr>
        <p:sp>
          <p:nvSpPr>
            <p:cNvPr id="44" name="Freeform 44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4373A4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TextBox 45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46" name="AutoShape 46"/>
          <p:cNvSpPr/>
          <p:nvPr/>
        </p:nvSpPr>
        <p:spPr>
          <a:xfrm flipV="1">
            <a:off x="6774229" y="1585610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8" name="Freeform 48"/>
          <p:cNvSpPr/>
          <p:nvPr/>
        </p:nvSpPr>
        <p:spPr>
          <a:xfrm>
            <a:off x="5723617" y="1586297"/>
            <a:ext cx="897608" cy="615983"/>
          </a:xfrm>
          <a:custGeom>
            <a:avLst/>
            <a:gdLst/>
            <a:ahLst/>
            <a:cxnLst/>
            <a:rect l="l" t="t" r="r" b="b"/>
            <a:pathLst>
              <a:path w="1346412" h="923975">
                <a:moveTo>
                  <a:pt x="0" y="0"/>
                </a:moveTo>
                <a:lnTo>
                  <a:pt x="1346412" y="0"/>
                </a:lnTo>
                <a:lnTo>
                  <a:pt x="1346412" y="923975"/>
                </a:lnTo>
                <a:lnTo>
                  <a:pt x="0" y="923975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9" name="Freeform 49"/>
          <p:cNvSpPr/>
          <p:nvPr/>
        </p:nvSpPr>
        <p:spPr>
          <a:xfrm>
            <a:off x="5794282" y="3086740"/>
            <a:ext cx="909866" cy="928211"/>
          </a:xfrm>
          <a:custGeom>
            <a:avLst/>
            <a:gdLst/>
            <a:ahLst/>
            <a:cxnLst/>
            <a:rect l="l" t="t" r="r" b="b"/>
            <a:pathLst>
              <a:path w="1073218" h="1100736">
                <a:moveTo>
                  <a:pt x="0" y="0"/>
                </a:moveTo>
                <a:lnTo>
                  <a:pt x="1073218" y="0"/>
                </a:lnTo>
                <a:lnTo>
                  <a:pt x="1073218" y="1100736"/>
                </a:lnTo>
                <a:lnTo>
                  <a:pt x="0" y="1100736"/>
                </a:lnTo>
                <a:lnTo>
                  <a:pt x="0" y="0"/>
                </a:lnTo>
                <a:close/>
              </a:path>
            </a:pathLst>
          </a:custGeom>
          <a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0" name="Freeform 50"/>
          <p:cNvSpPr/>
          <p:nvPr/>
        </p:nvSpPr>
        <p:spPr>
          <a:xfrm>
            <a:off x="5725276" y="4967018"/>
            <a:ext cx="940945" cy="935974"/>
          </a:xfrm>
          <a:custGeom>
            <a:avLst/>
            <a:gdLst/>
            <a:ahLst/>
            <a:cxnLst/>
            <a:rect l="l" t="t" r="r" b="b"/>
            <a:pathLst>
              <a:path w="898235" h="1205685">
                <a:moveTo>
                  <a:pt x="0" y="0"/>
                </a:moveTo>
                <a:lnTo>
                  <a:pt x="898235" y="0"/>
                </a:lnTo>
                <a:lnTo>
                  <a:pt x="898235" y="1205685"/>
                </a:lnTo>
                <a:lnTo>
                  <a:pt x="0" y="1205685"/>
                </a:lnTo>
                <a:lnTo>
                  <a:pt x="0" y="0"/>
                </a:lnTo>
                <a:close/>
              </a:path>
            </a:pathLst>
          </a:custGeom>
          <a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3" name="TextBox 53"/>
          <p:cNvSpPr txBox="1"/>
          <p:nvPr/>
        </p:nvSpPr>
        <p:spPr>
          <a:xfrm>
            <a:off x="6910885" y="1285318"/>
            <a:ext cx="4080559" cy="122334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b="1" spc="43">
                <a:solidFill>
                  <a:srgbClr val="FFFFFF"/>
                </a:solidFill>
                <a:latin typeface="DM Sans"/>
              </a:rPr>
              <a:t>Educate providers, nurses, and other staff about the importance of a safe sleep environment for every sleep during hospitalization and at home  </a:t>
            </a:r>
            <a:endParaRPr lang="en-US" spc="43">
              <a:solidFill>
                <a:srgbClr val="FFFFFF"/>
              </a:solidFill>
              <a:latin typeface="DM Sans"/>
            </a:endParaRPr>
          </a:p>
        </p:txBody>
      </p:sp>
      <p:sp>
        <p:nvSpPr>
          <p:cNvPr id="54" name="TextBox 54"/>
          <p:cNvSpPr txBox="1"/>
          <p:nvPr/>
        </p:nvSpPr>
        <p:spPr>
          <a:xfrm>
            <a:off x="6895802" y="5013778"/>
            <a:ext cx="4094597" cy="9746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b="1" spc="43">
                <a:solidFill>
                  <a:srgbClr val="FFFFFF"/>
                </a:solidFill>
                <a:latin typeface="DM Sans"/>
              </a:rPr>
              <a:t>Endorse and model a safe sleep environment for every sleep during the hospitalization, including correcting unsafe behaviors  </a:t>
            </a:r>
            <a:endParaRPr lang="en-US" spc="43">
              <a:solidFill>
                <a:srgbClr val="FFFFFF"/>
              </a:solidFill>
              <a:latin typeface="DM Sans"/>
            </a:endParaRPr>
          </a:p>
        </p:txBody>
      </p:sp>
      <p:sp>
        <p:nvSpPr>
          <p:cNvPr id="56" name="TextBox 56"/>
          <p:cNvSpPr txBox="1"/>
          <p:nvPr/>
        </p:nvSpPr>
        <p:spPr>
          <a:xfrm>
            <a:off x="471488" y="3030116"/>
            <a:ext cx="3787056" cy="82997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600" spc="51">
                <a:solidFill>
                  <a:srgbClr val="000000"/>
                </a:solidFill>
                <a:latin typeface="DM Sans"/>
              </a:rPr>
              <a:t>Secondary Driver 2: Safe Sleep Environment Education and Implementation</a:t>
            </a:r>
          </a:p>
        </p:txBody>
      </p:sp>
      <p:sp>
        <p:nvSpPr>
          <p:cNvPr id="57" name="TextBox 57"/>
          <p:cNvSpPr txBox="1"/>
          <p:nvPr/>
        </p:nvSpPr>
        <p:spPr>
          <a:xfrm>
            <a:off x="6898401" y="2855716"/>
            <a:ext cx="4006858" cy="17106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b="1" spc="43">
                <a:solidFill>
                  <a:srgbClr val="FFFFFF"/>
                </a:solidFill>
                <a:latin typeface="DM Sans"/>
              </a:rPr>
              <a:t>Encourage meaningful, culturally appropriate, respectful, nonjudgmental conversations between providers, nurses, and other staff and parents and caregivers about a safe sleep environment </a:t>
            </a:r>
            <a:endParaRPr lang="en-US" spc="43">
              <a:solidFill>
                <a:srgbClr val="FFFFFF"/>
              </a:solidFill>
              <a:latin typeface="DM Sans"/>
            </a:endParaRP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0780975F-40AC-4431-7277-8634D267BA1E}"/>
              </a:ext>
            </a:extLst>
          </p:cNvPr>
          <p:cNvCxnSpPr>
            <a:cxnSpLocks/>
          </p:cNvCxnSpPr>
          <p:nvPr/>
        </p:nvCxnSpPr>
        <p:spPr>
          <a:xfrm>
            <a:off x="4234848" y="3333893"/>
            <a:ext cx="1403405" cy="2170504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E6E294E1-60D1-93D5-F703-4C8CA9125137}"/>
              </a:ext>
            </a:extLst>
          </p:cNvPr>
          <p:cNvCxnSpPr>
            <a:cxnSpLocks/>
          </p:cNvCxnSpPr>
          <p:nvPr/>
        </p:nvCxnSpPr>
        <p:spPr>
          <a:xfrm>
            <a:off x="4261584" y="3373997"/>
            <a:ext cx="1443451" cy="13451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533F86FB-67E8-46C0-0C13-6B8ABD7D4C87}"/>
              </a:ext>
            </a:extLst>
          </p:cNvPr>
          <p:cNvCxnSpPr>
            <a:cxnSpLocks/>
          </p:cNvCxnSpPr>
          <p:nvPr/>
        </p:nvCxnSpPr>
        <p:spPr>
          <a:xfrm flipV="1">
            <a:off x="4234847" y="1918914"/>
            <a:ext cx="1435567" cy="1460048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CE06DA76-2516-7530-74D6-38D1B1FC6BFE}"/>
              </a:ext>
            </a:extLst>
          </p:cNvPr>
          <p:cNvSpPr txBox="1"/>
          <p:nvPr/>
        </p:nvSpPr>
        <p:spPr>
          <a:xfrm>
            <a:off x="7545294" y="1116176"/>
            <a:ext cx="2667520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endParaRPr lang="en-US" sz="2200" b="1">
              <a:latin typeface="Arial"/>
              <a:ea typeface="MS PGothic"/>
              <a:cs typeface="Arial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8CD4543-B35F-C7BE-C5DB-7DF0067C551A}"/>
              </a:ext>
            </a:extLst>
          </p:cNvPr>
          <p:cNvSpPr txBox="1"/>
          <p:nvPr/>
        </p:nvSpPr>
        <p:spPr>
          <a:xfrm>
            <a:off x="7318154" y="244405"/>
            <a:ext cx="266752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b="1">
                <a:latin typeface="DM Sans"/>
                <a:ea typeface="MS PGothic"/>
                <a:cs typeface="Arial"/>
              </a:rPr>
              <a:t>Change Ideas</a:t>
            </a:r>
          </a:p>
        </p:txBody>
      </p:sp>
    </p:spTree>
    <p:extLst>
      <p:ext uri="{BB962C8B-B14F-4D97-AF65-F5344CB8AC3E}">
        <p14:creationId xmlns:p14="http://schemas.microsoft.com/office/powerpoint/2010/main" val="250078506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58709" y="1308390"/>
            <a:ext cx="10193962" cy="2014679"/>
          </a:xfrm>
        </p:spPr>
        <p:txBody>
          <a:bodyPr/>
          <a:lstStyle/>
          <a:p>
            <a:r>
              <a:rPr lang="en-US">
                <a:latin typeface="DM Sans"/>
                <a:ea typeface="Lato Medium"/>
                <a:cs typeface="Lato Medium"/>
              </a:rPr>
              <a:t>Upcoming Opportunities of Interest to ESSI Teams</a:t>
            </a:r>
            <a:endParaRPr lang="en-US">
              <a:latin typeface="DM Sans"/>
            </a:endParaRPr>
          </a:p>
        </p:txBody>
      </p:sp>
    </p:spTree>
    <p:extLst>
      <p:ext uri="{BB962C8B-B14F-4D97-AF65-F5344CB8AC3E}">
        <p14:creationId xmlns:p14="http://schemas.microsoft.com/office/powerpoint/2010/main" val="309904556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0" name="Google Shape;12690;p1190"/>
          <p:cNvSpPr txBox="1">
            <a:spLocks noGrp="1"/>
          </p:cNvSpPr>
          <p:nvPr>
            <p:ph type="title"/>
          </p:nvPr>
        </p:nvSpPr>
        <p:spPr>
          <a:xfrm>
            <a:off x="79803" y="55186"/>
            <a:ext cx="5336874" cy="484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spcAft>
                <a:spcPts val="700"/>
              </a:spcAft>
            </a:pPr>
            <a:r>
              <a:rPr lang="en-US" sz="3200" b="1" i="1">
                <a:solidFill>
                  <a:schemeClr val="tx2">
                    <a:lumMod val="25000"/>
                    <a:lumOff val="75000"/>
                  </a:schemeClr>
                </a:solidFill>
                <a:latin typeface="DM Sans"/>
                <a:ea typeface="+mj-lt"/>
                <a:cs typeface="+mj-lt"/>
              </a:rPr>
              <a:t>ILPQC will be offering one seat to each ESSI hospital team to help build capacity to facilitate live discussions about equity and respectful care with your providers, nurses and staff.</a:t>
            </a:r>
          </a:p>
        </p:txBody>
      </p:sp>
      <p:sp>
        <p:nvSpPr>
          <p:cNvPr id="12691" name="Google Shape;12691;p11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46</a:t>
            </a:fld>
            <a:endParaRPr/>
          </a:p>
        </p:txBody>
      </p:sp>
      <p:pic>
        <p:nvPicPr>
          <p:cNvPr id="12692" name="Google Shape;12692;p1190" descr="A white and green flyer with a qr code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542260" y="-811"/>
            <a:ext cx="6652989" cy="686058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8F9C1FE-8216-E5B4-2561-3AE9AEDE262C}"/>
              </a:ext>
            </a:extLst>
          </p:cNvPr>
          <p:cNvSpPr/>
          <p:nvPr/>
        </p:nvSpPr>
        <p:spPr>
          <a:xfrm>
            <a:off x="499374" y="405072"/>
            <a:ext cx="4496667" cy="1309907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800" b="1"/>
              <a:t>Registration for April PQI Training is CLOSED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2BCC9C8-D0FC-02F5-F2F7-F860EC156185}"/>
              </a:ext>
            </a:extLst>
          </p:cNvPr>
          <p:cNvSpPr/>
          <p:nvPr/>
        </p:nvSpPr>
        <p:spPr>
          <a:xfrm>
            <a:off x="99168" y="1835970"/>
            <a:ext cx="5284650" cy="2332102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800" b="1"/>
              <a:t>To claim a free seat to PQI's June SPEAK UP Champion Training (14th and 21st), please email kmoreno@northshore.or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E1A64F5-211E-F151-D195-6E9221955AF4}"/>
              </a:ext>
            </a:extLst>
          </p:cNvPr>
          <p:cNvSpPr/>
          <p:nvPr/>
        </p:nvSpPr>
        <p:spPr>
          <a:xfrm>
            <a:off x="91770" y="4166358"/>
            <a:ext cx="5329038" cy="256144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800" b="1">
                <a:solidFill>
                  <a:srgbClr val="1C498B"/>
                </a:solidFill>
              </a:rPr>
              <a:t>An additional </a:t>
            </a:r>
            <a:r>
              <a:rPr lang="en-US" sz="2800" b="1">
                <a:solidFill>
                  <a:srgbClr val="F5668F"/>
                </a:solidFill>
              </a:rPr>
              <a:t>ILPQC </a:t>
            </a:r>
            <a:r>
              <a:rPr lang="en-US" sz="2800" b="1">
                <a:solidFill>
                  <a:srgbClr val="1C498B"/>
                </a:solidFill>
              </a:rPr>
              <a:t>sponsored PQI SPEAK UP Champion Training will be held August 9th and August 16th.</a:t>
            </a:r>
            <a:endParaRPr lang="en-US">
              <a:solidFill>
                <a:srgbClr val="1C49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848014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map of a city&#10;&#10;Description automatically generated">
            <a:extLst>
              <a:ext uri="{FF2B5EF4-FFF2-40B4-BE49-F238E27FC236}">
                <a16:creationId xmlns:a16="http://schemas.microsoft.com/office/drawing/2014/main" id="{13003E4A-C265-28F9-1357-991F7DABCFD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44044" y="1007985"/>
            <a:ext cx="4311683" cy="4033549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09CA248B-9FC0-2E88-52D2-073BC78E9980}"/>
              </a:ext>
            </a:extLst>
          </p:cNvPr>
          <p:cNvSpPr txBox="1">
            <a:spLocks/>
          </p:cNvSpPr>
          <p:nvPr/>
        </p:nvSpPr>
        <p:spPr>
          <a:xfrm>
            <a:off x="162763" y="211371"/>
            <a:ext cx="11581098" cy="1143000"/>
          </a:xfrm>
          <a:prstGeom prst="rect">
            <a:avLst/>
          </a:prstGeom>
          <a:noFill/>
        </p:spPr>
        <p:txBody>
          <a:bodyPr lIns="91440" tIns="45720" rIns="91440" bIns="45720" anchor="t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Fetal Infant Mortality Review (FIMR) Implicit Bias Event</a:t>
            </a:r>
          </a:p>
        </p:txBody>
      </p:sp>
      <p:pic>
        <p:nvPicPr>
          <p:cNvPr id="6" name="Picture 5" descr="A logo for a baby&#10;&#10;Description automatically generated">
            <a:extLst>
              <a:ext uri="{FF2B5EF4-FFF2-40B4-BE49-F238E27FC236}">
                <a16:creationId xmlns:a16="http://schemas.microsoft.com/office/drawing/2014/main" id="{6472BB10-DFC7-7693-1206-CECFC0EBCA4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42195" y="5167125"/>
            <a:ext cx="4157709" cy="153223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9A42A76-1D94-4B44-E559-DCFCA065D230}"/>
              </a:ext>
            </a:extLst>
          </p:cNvPr>
          <p:cNvSpPr txBox="1"/>
          <p:nvPr/>
        </p:nvSpPr>
        <p:spPr>
          <a:xfrm>
            <a:off x="163967" y="1692089"/>
            <a:ext cx="7547367" cy="3477875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Calibri"/>
              <a:buChar char="-"/>
            </a:pPr>
            <a:r>
              <a:rPr lang="en-US" sz="2000">
                <a:solidFill>
                  <a:srgbClr val="33343F"/>
                </a:solidFill>
                <a:latin typeface="DM Sans"/>
                <a:ea typeface="+mn-lt"/>
                <a:cs typeface="+mn-lt"/>
              </a:rPr>
              <a:t>The FIMR Community Action Team invites you to our upcoming event focused on continuing our community conversation on Implicit Bias scheduled for </a:t>
            </a:r>
            <a:r>
              <a:rPr lang="en-US" sz="2000" b="1">
                <a:solidFill>
                  <a:srgbClr val="1C498B"/>
                </a:solidFill>
                <a:latin typeface="DM Sans"/>
                <a:ea typeface="+mn-lt"/>
                <a:cs typeface="+mn-lt"/>
              </a:rPr>
              <a:t>April 22nd, 2024.   </a:t>
            </a:r>
            <a:endParaRPr lang="en-US" sz="2000" b="1">
              <a:solidFill>
                <a:srgbClr val="1C498B"/>
              </a:solidFill>
              <a:latin typeface="DM Sans"/>
              <a:ea typeface="Open Sans"/>
              <a:cs typeface="Calibri"/>
            </a:endParaRPr>
          </a:p>
          <a:p>
            <a:pPr marL="342900" indent="-342900">
              <a:buFont typeface="Calibri"/>
              <a:buChar char="-"/>
            </a:pPr>
            <a:r>
              <a:rPr lang="en-US" sz="2000">
                <a:solidFill>
                  <a:srgbClr val="33343F"/>
                </a:solidFill>
                <a:latin typeface="DM Sans"/>
                <a:cs typeface="Calibri"/>
              </a:rPr>
              <a:t>Over the last 6 months, held</a:t>
            </a:r>
            <a:r>
              <a:rPr lang="en-US" sz="2000" b="1">
                <a:solidFill>
                  <a:srgbClr val="33343F"/>
                </a:solidFill>
                <a:latin typeface="DM Sans"/>
                <a:cs typeface="Calibri"/>
              </a:rPr>
              <a:t> 6 community events </a:t>
            </a:r>
            <a:r>
              <a:rPr lang="en-US" sz="2000">
                <a:solidFill>
                  <a:srgbClr val="33343F"/>
                </a:solidFill>
                <a:latin typeface="DM Sans"/>
                <a:cs typeface="Calibri"/>
              </a:rPr>
              <a:t>on the topic of Implicit Bias </a:t>
            </a:r>
          </a:p>
          <a:p>
            <a:pPr marL="800100" lvl="1" indent="-342900">
              <a:buFont typeface="Calibri"/>
              <a:buChar char="-"/>
            </a:pPr>
            <a:r>
              <a:rPr lang="en-US" sz="2000" b="1">
                <a:solidFill>
                  <a:srgbClr val="33343F"/>
                </a:solidFill>
                <a:latin typeface="DM Sans"/>
                <a:ea typeface="Open Sans"/>
                <a:cs typeface="Calibri"/>
              </a:rPr>
              <a:t>This month, emphasis on what</a:t>
            </a:r>
            <a:r>
              <a:rPr lang="en-US" sz="2000" b="1">
                <a:solidFill>
                  <a:srgbClr val="202124"/>
                </a:solidFill>
                <a:latin typeface="DM Sans"/>
                <a:ea typeface="+mn-lt"/>
                <a:cs typeface="+mn-lt"/>
              </a:rPr>
              <a:t> we can do as individuals to address implicit bias and what tools/resources we need to help us in this work.</a:t>
            </a:r>
            <a:endParaRPr lang="en-US" sz="2000" b="1">
              <a:solidFill>
                <a:srgbClr val="33343F"/>
              </a:solidFill>
              <a:latin typeface="DM Sans"/>
              <a:ea typeface="Open Sans"/>
              <a:cs typeface="Calibri"/>
            </a:endParaRPr>
          </a:p>
          <a:p>
            <a:pPr marL="342900" indent="-342900">
              <a:buFont typeface="Calibri"/>
              <a:buChar char="-"/>
            </a:pPr>
            <a:endParaRPr lang="en-US" sz="2000" b="1">
              <a:solidFill>
                <a:srgbClr val="33343F"/>
              </a:solidFill>
              <a:latin typeface="DM Sans"/>
              <a:ea typeface="Open Sans"/>
              <a:cs typeface="Calibri"/>
            </a:endParaRPr>
          </a:p>
          <a:p>
            <a:pPr marL="800100" lvl="1" indent="-342900">
              <a:buFont typeface="Calibri"/>
              <a:buChar char="-"/>
            </a:pPr>
            <a:endParaRPr lang="en-US" sz="2000">
              <a:latin typeface="DM Sans"/>
              <a:cs typeface="Calibri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12C9FAA-0D84-7899-7874-624BB096EC2F}"/>
              </a:ext>
            </a:extLst>
          </p:cNvPr>
          <p:cNvSpPr/>
          <p:nvPr/>
        </p:nvSpPr>
        <p:spPr>
          <a:xfrm>
            <a:off x="414290" y="5274816"/>
            <a:ext cx="3358718" cy="1302058"/>
          </a:xfrm>
          <a:prstGeom prst="rect">
            <a:avLst/>
          </a:prstGeom>
          <a:solidFill>
            <a:srgbClr val="1C498B"/>
          </a:solidFill>
          <a:ln>
            <a:solidFill>
              <a:srgbClr val="4472C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9180975-6B3D-2E2C-3C45-966B21666D3E}"/>
              </a:ext>
            </a:extLst>
          </p:cNvPr>
          <p:cNvSpPr/>
          <p:nvPr/>
        </p:nvSpPr>
        <p:spPr>
          <a:xfrm>
            <a:off x="4054135" y="5274815"/>
            <a:ext cx="3358718" cy="1302058"/>
          </a:xfrm>
          <a:prstGeom prst="rect">
            <a:avLst/>
          </a:prstGeom>
          <a:solidFill>
            <a:srgbClr val="1C498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CA319AE-4D74-F438-48D7-5425B8102EF1}"/>
              </a:ext>
            </a:extLst>
          </p:cNvPr>
          <p:cNvSpPr/>
          <p:nvPr/>
        </p:nvSpPr>
        <p:spPr>
          <a:xfrm>
            <a:off x="902562" y="5504155"/>
            <a:ext cx="2382174" cy="84337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Register in person </a:t>
            </a:r>
            <a:r>
              <a:rPr lang="en-US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.</a:t>
            </a:r>
            <a:r>
              <a:rPr lang="en-US">
                <a:solidFill>
                  <a:schemeClr val="tx1"/>
                </a:solidFill>
              </a:rPr>
              <a:t> 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6AA4B1A-0063-264E-3E3D-3BD962E511D8}"/>
              </a:ext>
            </a:extLst>
          </p:cNvPr>
          <p:cNvSpPr/>
          <p:nvPr/>
        </p:nvSpPr>
        <p:spPr>
          <a:xfrm>
            <a:off x="4557203" y="5511552"/>
            <a:ext cx="2382174" cy="83598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solidFill>
                  <a:schemeClr val="tx1"/>
                </a:solidFill>
              </a:rPr>
              <a:t>Register virtually </a:t>
            </a:r>
            <a:r>
              <a:rPr lang="en-US">
                <a:solidFill>
                  <a:schemeClr val="tx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.</a:t>
            </a:r>
            <a:r>
              <a:rPr lang="en-US">
                <a:solidFill>
                  <a:schemeClr val="tx1"/>
                </a:solidFill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17285421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 descr="A green sign with white text&#10;&#10;Description automatically generated">
            <a:extLst>
              <a:ext uri="{FF2B5EF4-FFF2-40B4-BE49-F238E27FC236}">
                <a16:creationId xmlns:a16="http://schemas.microsoft.com/office/drawing/2014/main" id="{BA188618-97E8-C2B0-618D-F5756EA3177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220" y="-8949"/>
            <a:ext cx="8243454" cy="2449066"/>
          </a:xfrm>
        </p:spPr>
      </p:pic>
      <p:pic>
        <p:nvPicPr>
          <p:cNvPr id="2" name="Picture 1" descr="A close-up of a logo&#10;&#10;Description automatically generated">
            <a:extLst>
              <a:ext uri="{FF2B5EF4-FFF2-40B4-BE49-F238E27FC236}">
                <a16:creationId xmlns:a16="http://schemas.microsoft.com/office/drawing/2014/main" id="{9FD139DA-C5E0-2193-7D25-CE323E37C94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2192" y="4639519"/>
            <a:ext cx="5487430" cy="221654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21D5F18-8A35-4C67-417F-93F5E614D939}"/>
              </a:ext>
            </a:extLst>
          </p:cNvPr>
          <p:cNvSpPr txBox="1"/>
          <p:nvPr/>
        </p:nvSpPr>
        <p:spPr>
          <a:xfrm>
            <a:off x="371205" y="2559497"/>
            <a:ext cx="6470820" cy="37149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200" b="1" i="1"/>
              <a:t>After this webinar, participants will be able to:</a:t>
            </a:r>
            <a:r>
              <a:rPr lang="en-US" sz="2200"/>
              <a:t> 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/>
              <a:t>Describe SUID epidemiology, disparities, risk and the role of risk perception in preventing SUID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/>
              <a:t>Develop communication approaches that value and center families and consider harm reduction</a:t>
            </a:r>
          </a:p>
          <a:p>
            <a:pPr marL="285750" indent="-285750">
              <a:lnSpc>
                <a:spcPct val="150000"/>
              </a:lnSpc>
              <a:buFont typeface="Arial"/>
              <a:buChar char="•"/>
            </a:pPr>
            <a:r>
              <a:rPr lang="en-US"/>
              <a:t>Recognize the value of partnering with birth hospitals, MCH Stakeholders and SUID Prevention advocates to promote safe sleep during clinical during clinical and community-based encounters with pregnant and parenting families</a:t>
            </a:r>
          </a:p>
        </p:txBody>
      </p:sp>
      <p:pic>
        <p:nvPicPr>
          <p:cNvPr id="5" name="Picture 4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D614CA65-6B3D-378B-D6C4-FC608125B0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25267" y="107249"/>
            <a:ext cx="2209800" cy="22098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7BC8EFB-7594-4E09-1D22-5D6BDC21335E}"/>
              </a:ext>
            </a:extLst>
          </p:cNvPr>
          <p:cNvSpPr txBox="1"/>
          <p:nvPr/>
        </p:nvSpPr>
        <p:spPr>
          <a:xfrm>
            <a:off x="9099612" y="2432561"/>
            <a:ext cx="1863111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/>
              <a:t>Register </a:t>
            </a:r>
            <a:r>
              <a:rPr lang="en-US" sz="2000">
                <a:hlinkClick r:id="rId5"/>
              </a:rPr>
              <a:t>here</a:t>
            </a:r>
            <a:r>
              <a:rPr lang="en-US">
                <a:hlinkClick r:id="rId5"/>
              </a:rPr>
              <a:t>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0150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A038C4-6C1B-438E-F946-4CA5AEA05D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ESSI Safe Sleep Starter Pack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05ADD1-A214-5B3B-4909-598A647BA59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Lato"/>
                <a:cs typeface="Lato"/>
              </a:rPr>
              <a:t>Thanks to IL DHS we are able to provide printed patient education materials for </a:t>
            </a:r>
            <a:r>
              <a:rPr lang="en-US" b="1">
                <a:ea typeface="Lato"/>
                <a:cs typeface="Lato"/>
              </a:rPr>
              <a:t>each</a:t>
            </a:r>
            <a:r>
              <a:rPr lang="en-US">
                <a:ea typeface="Lato"/>
                <a:cs typeface="Lato"/>
              </a:rPr>
              <a:t> ESSI Team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2462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TTENDANCE POLL!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lease fill out the poll so that we can track hospital team attendance at ESSI webinars</a:t>
            </a:r>
          </a:p>
        </p:txBody>
      </p:sp>
    </p:spTree>
    <p:extLst>
      <p:ext uri="{BB962C8B-B14F-4D97-AF65-F5344CB8AC3E}">
        <p14:creationId xmlns:p14="http://schemas.microsoft.com/office/powerpoint/2010/main" val="237326832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53F29798-D584-4792-9B62-3F5F5C36D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Content Placeholder 4" descr="A baby sleeping in a blanket&#10;&#10;Description automatically generated">
            <a:extLst>
              <a:ext uri="{FF2B5EF4-FFF2-40B4-BE49-F238E27FC236}">
                <a16:creationId xmlns:a16="http://schemas.microsoft.com/office/drawing/2014/main" id="{7A76BD80-97A2-39A0-1C37-6AE27F944B1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470" y="1458154"/>
            <a:ext cx="3340720" cy="5079240"/>
          </a:xfrm>
        </p:spPr>
      </p:pic>
      <p:pic>
        <p:nvPicPr>
          <p:cNvPr id="6" name="Picture 5" descr="A baby sleeping in a blanket&#10;&#10;Description automatically generated">
            <a:extLst>
              <a:ext uri="{FF2B5EF4-FFF2-40B4-BE49-F238E27FC236}">
                <a16:creationId xmlns:a16="http://schemas.microsoft.com/office/drawing/2014/main" id="{F1BFA5F2-ADD7-7348-C40B-C3954616939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3973" y="1480241"/>
            <a:ext cx="3329677" cy="5068197"/>
          </a:xfrm>
          <a:prstGeom prst="rect">
            <a:avLst/>
          </a:prstGeom>
        </p:spPr>
      </p:pic>
      <p:pic>
        <p:nvPicPr>
          <p:cNvPr id="9" name="Picture 8" descr="A baby sleeping in a green sleeping bag&#10;&#10;Description automatically generated">
            <a:extLst>
              <a:ext uri="{FF2B5EF4-FFF2-40B4-BE49-F238E27FC236}">
                <a16:creationId xmlns:a16="http://schemas.microsoft.com/office/drawing/2014/main" id="{FFF393C2-E071-7E4B-E86E-4C9C98E306F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3802" y="1458154"/>
            <a:ext cx="3302966" cy="5090284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61505BCF-1FA4-3FD4-D557-7E6FA23E78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858" y="153490"/>
            <a:ext cx="10515600" cy="150588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52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Posters</a:t>
            </a:r>
          </a:p>
        </p:txBody>
      </p:sp>
    </p:spTree>
    <p:extLst>
      <p:ext uri="{BB962C8B-B14F-4D97-AF65-F5344CB8AC3E}">
        <p14:creationId xmlns:p14="http://schemas.microsoft.com/office/powerpoint/2010/main" val="160085623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1E2D41-F9B0-E0CA-7A7A-59DF128B6B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956" y="239865"/>
            <a:ext cx="10972800" cy="1325563"/>
          </a:xfrm>
        </p:spPr>
        <p:txBody>
          <a:bodyPr/>
          <a:lstStyle/>
          <a:p>
            <a:r>
              <a:rPr lang="en-US" sz="5200">
                <a:solidFill>
                  <a:schemeClr val="tx1"/>
                </a:solidFill>
                <a:ea typeface="Calibri"/>
                <a:cs typeface="Calibri"/>
              </a:rPr>
              <a:t>Handouts</a:t>
            </a:r>
          </a:p>
        </p:txBody>
      </p:sp>
      <p:pic>
        <p:nvPicPr>
          <p:cNvPr id="6" name="Content Placeholder 5" descr="A baby sleeping in a blanket&#10;&#10;Description automatically generated">
            <a:extLst>
              <a:ext uri="{FF2B5EF4-FFF2-40B4-BE49-F238E27FC236}">
                <a16:creationId xmlns:a16="http://schemas.microsoft.com/office/drawing/2014/main" id="{6A147218-C060-0567-A3C9-FDE2C56DAC4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4" y="1803388"/>
            <a:ext cx="7166880" cy="505812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DA9A94-E4E1-1718-2981-C205FEE580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51</a:t>
            </a:fld>
            <a:endParaRPr lang="en-US"/>
          </a:p>
        </p:txBody>
      </p:sp>
      <p:pic>
        <p:nvPicPr>
          <p:cNvPr id="7" name="Picture 6" descr="A baby sleeping in a crib&#10;&#10;Description automatically generated">
            <a:extLst>
              <a:ext uri="{FF2B5EF4-FFF2-40B4-BE49-F238E27FC236}">
                <a16:creationId xmlns:a16="http://schemas.microsoft.com/office/drawing/2014/main" id="{E1A0760A-CCD0-CD28-E45B-EEB54A6856B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6830" y="151"/>
            <a:ext cx="5011003" cy="6857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52482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1505BCF-1FA4-3FD4-D557-7E6FA23E78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00082"/>
            <a:ext cx="6478105" cy="1347649"/>
          </a:xfrm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What is included: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66BCE96-923E-C263-7F0B-4CA5F2BF3B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06582"/>
            <a:ext cx="10972800" cy="4815164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ts val="0"/>
              </a:spcBef>
              <a:spcAft>
                <a:spcPts val="500"/>
              </a:spcAft>
            </a:pPr>
            <a:r>
              <a:rPr lang="en-US">
                <a:ea typeface="Lato"/>
                <a:cs typeface="Lato"/>
              </a:rPr>
              <a:t>Each ESSI team has the opportunity to order a Safe Sleep Support Starter Kit.</a:t>
            </a:r>
            <a:endParaRPr lang="en-US"/>
          </a:p>
          <a:p>
            <a:pPr>
              <a:spcBef>
                <a:spcPts val="0"/>
              </a:spcBef>
              <a:spcAft>
                <a:spcPts val="500"/>
              </a:spcAft>
            </a:pPr>
            <a:r>
              <a:rPr lang="en-US">
                <a:ea typeface="Lato"/>
                <a:cs typeface="Lato"/>
              </a:rPr>
              <a:t>Based on your birth volume each team will choose:</a:t>
            </a: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>
                <a:ea typeface="Lato"/>
                <a:cs typeface="Lato"/>
              </a:rPr>
              <a:t>5 posters + 200 handouts (4 tear pads of 50) in English for hospitals with a birth volume up to 800</a:t>
            </a: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>
                <a:ea typeface="Lato"/>
                <a:cs typeface="Lato"/>
              </a:rPr>
              <a:t>10 posters + 400 handouts  (8 tear pads of 50) in English for hospitals with a birth volume over 800</a:t>
            </a:r>
          </a:p>
          <a:p>
            <a:pPr>
              <a:spcBef>
                <a:spcPts val="0"/>
              </a:spcBef>
              <a:spcAft>
                <a:spcPts val="500"/>
              </a:spcAft>
            </a:pPr>
            <a:r>
              <a:rPr lang="en-US">
                <a:ea typeface="Lato"/>
                <a:cs typeface="Lato"/>
              </a:rPr>
              <a:t>Based on your patient demographics you have the opportunity to order additional handouts in the following languages:</a:t>
            </a: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>
                <a:ea typeface="Lato"/>
                <a:cs typeface="Lato"/>
              </a:rPr>
              <a:t>Spanish</a:t>
            </a: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>
                <a:ea typeface="Lato"/>
                <a:cs typeface="Lato"/>
              </a:rPr>
              <a:t>Chinese</a:t>
            </a: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>
                <a:ea typeface="Lato"/>
                <a:cs typeface="Lato"/>
              </a:rPr>
              <a:t>Arabic</a:t>
            </a:r>
          </a:p>
          <a:p>
            <a:pPr lvl="1">
              <a:spcBef>
                <a:spcPts val="0"/>
              </a:spcBef>
              <a:spcAft>
                <a:spcPts val="500"/>
              </a:spcAft>
            </a:pPr>
            <a:r>
              <a:rPr lang="en-US">
                <a:ea typeface="Lato"/>
                <a:cs typeface="Lato"/>
              </a:rPr>
              <a:t>Polish</a:t>
            </a:r>
          </a:p>
          <a:p>
            <a:pPr>
              <a:spcBef>
                <a:spcPts val="0"/>
              </a:spcBef>
              <a:spcAft>
                <a:spcPts val="500"/>
              </a:spcAft>
            </a:pPr>
            <a:r>
              <a:rPr lang="en-US">
                <a:ea typeface="Lato"/>
                <a:cs typeface="Lato"/>
              </a:rPr>
              <a:t>Each additional language packet comes with 50 handouts (1 tear pad of 50).</a:t>
            </a:r>
          </a:p>
          <a:p>
            <a:pPr>
              <a:spcBef>
                <a:spcPts val="0"/>
              </a:spcBef>
              <a:spcAft>
                <a:spcPts val="500"/>
              </a:spcAft>
            </a:pPr>
            <a:r>
              <a:rPr lang="en-US">
                <a:ea typeface="Lato"/>
                <a:cs typeface="Lato"/>
              </a:rPr>
              <a:t>Each team will also get a pack of 1 poster per language</a:t>
            </a:r>
          </a:p>
          <a:p>
            <a:endParaRPr lang="en-US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8DECB8B8-4F3B-B31E-DEFD-DBE557FC9196}"/>
              </a:ext>
            </a:extLst>
          </p:cNvPr>
          <p:cNvSpPr/>
          <p:nvPr/>
        </p:nvSpPr>
        <p:spPr>
          <a:xfrm>
            <a:off x="7088923" y="3950358"/>
            <a:ext cx="4417391" cy="1236869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>
                <a:ea typeface="Calibri"/>
                <a:cs typeface="Calibri"/>
              </a:rPr>
              <a:t>Click the link in the chat to place your order!</a:t>
            </a:r>
          </a:p>
        </p:txBody>
      </p:sp>
    </p:spTree>
    <p:extLst>
      <p:ext uri="{BB962C8B-B14F-4D97-AF65-F5344CB8AC3E}">
        <p14:creationId xmlns:p14="http://schemas.microsoft.com/office/powerpoint/2010/main" val="168778297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F18D7A-43BA-6694-92BB-52CBF2060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082" y="684911"/>
            <a:ext cx="7405757" cy="1336606"/>
          </a:xfrm>
        </p:spPr>
        <p:txBody>
          <a:bodyPr/>
          <a:lstStyle/>
          <a:p>
            <a:r>
              <a:rPr lang="en-US" sz="3200">
                <a:ea typeface="Lato Medium"/>
                <a:cs typeface="Lato Medium"/>
              </a:rPr>
              <a:t>Diversity Science</a:t>
            </a:r>
            <a:br>
              <a:rPr lang="en-US" sz="3200">
                <a:ea typeface="Lato Medium"/>
                <a:cs typeface="Lato Medium"/>
              </a:rPr>
            </a:br>
            <a:r>
              <a:rPr lang="en-US" sz="3200" i="1">
                <a:latin typeface="Calibri"/>
                <a:ea typeface="Lato Medium"/>
                <a:cs typeface="Lato Medium"/>
              </a:rPr>
              <a:t>Dignity in Pregnancy &amp; Childbirth: Preventing Racial Bias in Perinatal Care</a:t>
            </a:r>
            <a:endParaRPr lang="en-US" sz="3200" i="1">
              <a:latin typeface="Calibri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CB37E0-D0DD-5D32-723C-8FFFF1B11D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6056" y="1700232"/>
            <a:ext cx="6566453" cy="3917288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en-US"/>
          </a:p>
          <a:p>
            <a:r>
              <a:rPr lang="en-US">
                <a:solidFill>
                  <a:srgbClr val="0D2C4C"/>
                </a:solidFill>
                <a:ea typeface="+mn-lt"/>
                <a:cs typeface="+mn-lt"/>
              </a:rPr>
              <a:t>Diversity Science includes courses that empower clinicians, providers, and healthcare organizations to achieve their mission of providing bias-free, high-quality care to all patients.</a:t>
            </a:r>
            <a:endParaRPr lang="en-US">
              <a:ea typeface="Lato"/>
              <a:cs typeface="Lato"/>
            </a:endParaRPr>
          </a:p>
          <a:p>
            <a:r>
              <a:rPr lang="en-US" b="1">
                <a:ea typeface="Lato"/>
                <a:cs typeface="Lato"/>
              </a:rPr>
              <a:t>ILPQC has been able to work with Diversity Science to allow Hospital teams to integrate the modules in e-learning systems.</a:t>
            </a:r>
            <a:endParaRPr lang="en-US" b="1"/>
          </a:p>
          <a:p>
            <a:r>
              <a:rPr lang="en-US">
                <a:ea typeface="Lato"/>
                <a:cs typeface="Lato"/>
              </a:rPr>
              <a:t>We will follow up soon with more information!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16904B-7A10-4CE1-1906-FAD29EAE9F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5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8951A9-0E93-9EB9-E0A5-C488F50624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A7BC3A8-74CA-A980-C709-FCBC5D47169C}"/>
              </a:ext>
            </a:extLst>
          </p:cNvPr>
          <p:cNvSpPr/>
          <p:nvPr/>
        </p:nvSpPr>
        <p:spPr>
          <a:xfrm>
            <a:off x="8231286" y="3429124"/>
            <a:ext cx="3434521" cy="227495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ea typeface="Calibri"/>
                <a:cs typeface="Calibri"/>
              </a:rPr>
              <a:t>COMING SOON!!!</a:t>
            </a:r>
            <a:endParaRPr lang="en-US" sz="2400">
              <a:ea typeface="Calibri" panose="020F0502020204030204"/>
              <a:cs typeface="Calibri" panose="020F0502020204030204"/>
            </a:endParaRPr>
          </a:p>
        </p:txBody>
      </p:sp>
      <p:pic>
        <p:nvPicPr>
          <p:cNvPr id="7" name="Picture 6" descr="A blue and white logo&#10;&#10;Description automatically generated">
            <a:extLst>
              <a:ext uri="{FF2B5EF4-FFF2-40B4-BE49-F238E27FC236}">
                <a16:creationId xmlns:a16="http://schemas.microsoft.com/office/drawing/2014/main" id="{8BCB66FF-B5D6-7E35-9EBC-FF6AF291BFE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53839" y="1675356"/>
            <a:ext cx="3190787" cy="146357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1283019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A4BE24-8C1C-4912-0FA0-47D38F5E83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529" y="1255516"/>
            <a:ext cx="8074241" cy="435133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latin typeface="DM Sans"/>
                <a:hlinkClick r:id="rId3"/>
              </a:rPr>
              <a:t>HALO Safer Way to Sleep Program</a:t>
            </a:r>
            <a:endParaRPr lang="en-US">
              <a:latin typeface="DM Sans"/>
            </a:endParaRPr>
          </a:p>
          <a:p>
            <a:pPr lvl="1">
              <a:buFont typeface="Courier New" panose="020B0604020202020204" pitchFamily="34" charset="0"/>
              <a:buChar char="o"/>
            </a:pPr>
            <a:r>
              <a:rPr lang="en-US" sz="2000">
                <a:latin typeface="DM Sans"/>
                <a:ea typeface="+mn-lt"/>
                <a:cs typeface="+mn-lt"/>
              </a:rPr>
              <a:t>The HALO In-Hospital Modeling Program replaces the traditional blankets in your Birth Center, NICU or PICU with a FREE* supply of HALO Sleep Sack swaddle wearable blanket. </a:t>
            </a:r>
          </a:p>
        </p:txBody>
      </p:sp>
      <p:pic>
        <p:nvPicPr>
          <p:cNvPr id="4" name="Picture 3" descr="A group of children&amp;#39;s logos&#10;&#10;Description automatically generated">
            <a:extLst>
              <a:ext uri="{FF2B5EF4-FFF2-40B4-BE49-F238E27FC236}">
                <a16:creationId xmlns:a16="http://schemas.microsoft.com/office/drawing/2014/main" id="{8F23A367-BAE1-22CE-23F4-0F8883F9301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301" y="3593942"/>
            <a:ext cx="10882542" cy="3147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55955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FC3E6-8E03-4AD0-DC5A-624DF52B6E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Other ESSI Information</a:t>
            </a:r>
          </a:p>
        </p:txBody>
      </p:sp>
    </p:spTree>
    <p:extLst>
      <p:ext uri="{BB962C8B-B14F-4D97-AF65-F5344CB8AC3E}">
        <p14:creationId xmlns:p14="http://schemas.microsoft.com/office/powerpoint/2010/main" val="134178383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E3F33-C3B5-E055-DCEE-2F9C85028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22" y="383940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Data Collection Timelines</a:t>
            </a:r>
            <a:endParaRPr lang="en-US" b="1">
              <a:solidFill>
                <a:srgbClr val="1C498B"/>
              </a:solidFill>
              <a:latin typeface="DM San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FB859F-8E0E-956F-2CC7-6B79360725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56684"/>
            <a:ext cx="7007355" cy="4620279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</a:pPr>
            <a:endParaRPr lang="en-US" b="1">
              <a:latin typeface="DM Sans"/>
              <a:ea typeface="Lato"/>
              <a:cs typeface="Lato"/>
            </a:endParaRPr>
          </a:p>
          <a:p>
            <a:pPr>
              <a:lnSpc>
                <a:spcPct val="100000"/>
              </a:lnSpc>
            </a:pPr>
            <a:r>
              <a:rPr lang="en-US">
                <a:latin typeface="DM Sans"/>
                <a:ea typeface="Lato"/>
                <a:cs typeface="Calibri"/>
              </a:rPr>
              <a:t>Active initiative data, due on the final day of the following month:</a:t>
            </a:r>
          </a:p>
          <a:p>
            <a:pPr lvl="1">
              <a:lnSpc>
                <a:spcPct val="100000"/>
              </a:lnSpc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 b="1" i="1">
                <a:latin typeface="DM Sans"/>
                <a:ea typeface="Lato"/>
                <a:cs typeface="Calibri"/>
              </a:rPr>
              <a:t>February</a:t>
            </a:r>
            <a:r>
              <a:rPr lang="en-US">
                <a:latin typeface="DM Sans"/>
                <a:ea typeface="Lato"/>
                <a:cs typeface="Calibri"/>
              </a:rPr>
              <a:t> Data Due </a:t>
            </a:r>
            <a:r>
              <a:rPr lang="en-US" b="1">
                <a:solidFill>
                  <a:srgbClr val="FF0000"/>
                </a:solidFill>
                <a:latin typeface="DM Sans"/>
                <a:ea typeface="Lato"/>
                <a:cs typeface="Calibri"/>
              </a:rPr>
              <a:t>March 31st</a:t>
            </a:r>
          </a:p>
          <a:p>
            <a:pPr lvl="1">
              <a:lnSpc>
                <a:spcPct val="100000"/>
              </a:lnSpc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 b="1" i="1">
                <a:latin typeface="DM Sans"/>
                <a:ea typeface="Lato"/>
                <a:cs typeface="Calibri"/>
              </a:rPr>
              <a:t>March</a:t>
            </a:r>
            <a:r>
              <a:rPr lang="en-US">
                <a:latin typeface="DM Sans"/>
                <a:ea typeface="Lato"/>
                <a:cs typeface="Calibri"/>
              </a:rPr>
              <a:t> Data Due </a:t>
            </a:r>
            <a:r>
              <a:rPr lang="en-US" b="1">
                <a:solidFill>
                  <a:srgbClr val="FF0000"/>
                </a:solidFill>
                <a:latin typeface="DM Sans"/>
                <a:ea typeface="Lato"/>
                <a:cs typeface="Calibri"/>
              </a:rPr>
              <a:t>April 30th</a:t>
            </a:r>
            <a:endParaRPr lang="en-US" b="1">
              <a:solidFill>
                <a:srgbClr val="FF0000"/>
              </a:solidFill>
              <a:latin typeface="DM Sans"/>
            </a:endParaRPr>
          </a:p>
          <a:p>
            <a:pPr marL="457200" lvl="1" indent="0">
              <a:lnSpc>
                <a:spcPct val="100000"/>
              </a:lnSpc>
              <a:buClr>
                <a:srgbClr val="1C498B"/>
              </a:buClr>
              <a:buNone/>
            </a:pPr>
            <a:endParaRPr lang="en-US">
              <a:solidFill>
                <a:srgbClr val="000000"/>
              </a:solidFill>
              <a:latin typeface="DM Sans"/>
              <a:ea typeface="Lato"/>
              <a:cs typeface="Calibri"/>
            </a:endParaRPr>
          </a:p>
          <a:p>
            <a:pPr marL="0" indent="0" algn="ctr">
              <a:lnSpc>
                <a:spcPct val="100000"/>
              </a:lnSpc>
              <a:buNone/>
            </a:pPr>
            <a:r>
              <a:rPr lang="en-US" b="1">
                <a:solidFill>
                  <a:srgbClr val="FF0000"/>
                </a:solidFill>
                <a:latin typeface="DM Sans"/>
                <a:ea typeface="Lato"/>
                <a:cs typeface="Lato"/>
              </a:rPr>
              <a:t>Award Data</a:t>
            </a:r>
            <a:r>
              <a:rPr lang="en-US">
                <a:latin typeface="DM Sans"/>
                <a:ea typeface="Lato"/>
                <a:cs typeface="Lato"/>
              </a:rPr>
              <a:t> (B</a:t>
            </a:r>
            <a:r>
              <a:rPr lang="en-US">
                <a:solidFill>
                  <a:srgbClr val="000000"/>
                </a:solidFill>
                <a:latin typeface="DM Sans"/>
                <a:ea typeface="Lato"/>
                <a:cs typeface="Lato"/>
              </a:rPr>
              <a:t>aseline</a:t>
            </a:r>
            <a:r>
              <a:rPr lang="en-US">
                <a:latin typeface="DM Sans"/>
                <a:ea typeface="Lato"/>
                <a:cs typeface="Lato"/>
              </a:rPr>
              <a:t> – March 2024):  Due </a:t>
            </a:r>
            <a:r>
              <a:rPr lang="en-US" b="1">
                <a:solidFill>
                  <a:srgbClr val="FF0000"/>
                </a:solidFill>
                <a:latin typeface="DM Sans"/>
                <a:ea typeface="Lato"/>
                <a:cs typeface="Lato"/>
              </a:rPr>
              <a:t>April 30th</a:t>
            </a:r>
            <a:endParaRPr lang="en-US" b="1">
              <a:solidFill>
                <a:srgbClr val="FF0000"/>
              </a:solidFill>
              <a:ea typeface="Lato"/>
              <a:cs typeface="Lato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8FBD2C-EF0D-27DE-A30C-E3B2A26CD6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56</a:t>
            </a:fld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BEB7261-6CAD-A586-63E2-7EFA2E7C8857}"/>
              </a:ext>
            </a:extLst>
          </p:cNvPr>
          <p:cNvSpPr/>
          <p:nvPr/>
        </p:nvSpPr>
        <p:spPr>
          <a:xfrm>
            <a:off x="7953892" y="1399422"/>
            <a:ext cx="3950389" cy="4200386"/>
          </a:xfrm>
          <a:prstGeom prst="roundRect">
            <a:avLst/>
          </a:prstGeom>
          <a:solidFill>
            <a:srgbClr val="1C498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000" b="1">
                <a:latin typeface="DM Sans"/>
                <a:cs typeface="Calibri"/>
              </a:rPr>
              <a:t> Need clarification about ESSI Data? </a:t>
            </a:r>
            <a:endParaRPr lang="en-US" sz="3000">
              <a:latin typeface="DM Sans"/>
            </a:endParaRPr>
          </a:p>
          <a:p>
            <a:pPr algn="ctr"/>
            <a:r>
              <a:rPr lang="en-US" sz="3000" b="1">
                <a:latin typeface="DM Sans"/>
                <a:cs typeface="Calibri"/>
              </a:rPr>
              <a:t>Watch the ESSI Data training Webinar recording</a:t>
            </a:r>
            <a:endParaRPr lang="en-US" sz="3000">
              <a:latin typeface="DM Sans"/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264C5B4-96BC-52D9-4761-56A7E9B3FF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  <p:pic>
        <p:nvPicPr>
          <p:cNvPr id="5" name="Graphic 4" descr="Questions outline">
            <a:extLst>
              <a:ext uri="{FF2B5EF4-FFF2-40B4-BE49-F238E27FC236}">
                <a16:creationId xmlns:a16="http://schemas.microsoft.com/office/drawing/2014/main" id="{8B33EB59-604B-4C20-B41F-710AE570BE3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52800" y="580124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15361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-62912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0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 Two ESSI Data Forms</a:t>
            </a:r>
            <a:endParaRPr lang="en-US" sz="4000" b="1">
              <a:solidFill>
                <a:srgbClr val="1C498B"/>
              </a:solidFill>
              <a:latin typeface="DM Sans"/>
            </a:endParaRP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D93EF601-CA84-ECB1-08DF-C8BAEC274FE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77975318"/>
              </p:ext>
            </p:extLst>
          </p:nvPr>
        </p:nvGraphicFramePr>
        <p:xfrm>
          <a:off x="609600" y="1215516"/>
          <a:ext cx="11255021" cy="51408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6" name="Graphic 45" descr="Hospital with solid fill">
            <a:extLst>
              <a:ext uri="{FF2B5EF4-FFF2-40B4-BE49-F238E27FC236}">
                <a16:creationId xmlns:a16="http://schemas.microsoft.com/office/drawing/2014/main" id="{5E04828F-545E-7B88-1CDE-A6B8BD1213E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7476" y="805257"/>
            <a:ext cx="914400" cy="914400"/>
          </a:xfrm>
          <a:prstGeom prst="rect">
            <a:avLst/>
          </a:prstGeom>
        </p:spPr>
      </p:pic>
      <p:pic>
        <p:nvPicPr>
          <p:cNvPr id="47" name="Graphic 46" descr="Baby with solid fill">
            <a:extLst>
              <a:ext uri="{FF2B5EF4-FFF2-40B4-BE49-F238E27FC236}">
                <a16:creationId xmlns:a16="http://schemas.microsoft.com/office/drawing/2014/main" id="{C13E9A9E-F1C1-0883-4F89-871783B27D2F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52835" y="925279"/>
            <a:ext cx="914400" cy="914400"/>
          </a:xfrm>
          <a:prstGeom prst="rect">
            <a:avLst/>
          </a:prstGeom>
        </p:spPr>
      </p:pic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7BC6E56A-CF12-B196-067F-25EE24D1B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176018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EAD3F6-4276-9857-871F-5D56FB426C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610D5-0922-E3FB-2E32-5E2628A0D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267" y="606414"/>
            <a:ext cx="10972800" cy="1325563"/>
          </a:xfrm>
        </p:spPr>
        <p:txBody>
          <a:bodyPr/>
          <a:lstStyle/>
          <a:p>
            <a:r>
              <a:rPr lang="en-US">
                <a:solidFill>
                  <a:srgbClr val="F37150"/>
                </a:solidFill>
                <a:latin typeface="DM Sans"/>
                <a:ea typeface="Lato Medium"/>
                <a:cs typeface="Lato Medium"/>
              </a:rPr>
              <a:t>Upcoming ESSI Calls</a:t>
            </a:r>
            <a:endParaRPr lang="en-US">
              <a:solidFill>
                <a:srgbClr val="F37150"/>
              </a:solidFill>
              <a:latin typeface="DM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24628E-DEC7-C9E6-9EF3-F80B5E996A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58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742BC3D-6CDA-121F-6028-CA1546518F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8368D356-AA78-0044-7D99-8A3664F51358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825625"/>
          <a:ext cx="10515600" cy="4204335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257800">
                  <a:extLst>
                    <a:ext uri="{9D8B030D-6E8A-4147-A177-3AD203B41FA5}">
                      <a16:colId xmlns:a16="http://schemas.microsoft.com/office/drawing/2014/main" val="1671499887"/>
                    </a:ext>
                  </a:extLst>
                </a:gridCol>
                <a:gridCol w="5257800">
                  <a:extLst>
                    <a:ext uri="{9D8B030D-6E8A-4147-A177-3AD203B41FA5}">
                      <a16:colId xmlns:a16="http://schemas.microsoft.com/office/drawing/2014/main" val="1139397189"/>
                    </a:ext>
                  </a:extLst>
                </a:gridCol>
              </a:tblGrid>
              <a:tr h="942975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800" b="1">
                          <a:solidFill>
                            <a:srgbClr val="FFFFFF"/>
                          </a:solidFill>
                          <a:effectLst/>
                          <a:highlight>
                            <a:srgbClr val="ED7D31"/>
                          </a:highlight>
                          <a:latin typeface="DM Sans" pitchFamily="2" charset="0"/>
                        </a:rPr>
                        <a:t>Date</a:t>
                      </a:r>
                      <a:endParaRPr lang="en-US" b="1">
                        <a:solidFill>
                          <a:srgbClr val="FFFFFF"/>
                        </a:solidFill>
                        <a:effectLst/>
                        <a:highlight>
                          <a:srgbClr val="ED7D31"/>
                        </a:highlight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800" b="1">
                          <a:solidFill>
                            <a:srgbClr val="FFFFFF"/>
                          </a:solidFill>
                          <a:effectLst/>
                          <a:highlight>
                            <a:srgbClr val="ED7D31"/>
                          </a:highlight>
                          <a:latin typeface="DM Sans" pitchFamily="2" charset="0"/>
                        </a:rPr>
                        <a:t>Topic</a:t>
                      </a:r>
                      <a:endParaRPr lang="en-US" b="1">
                        <a:solidFill>
                          <a:srgbClr val="FFFFFF"/>
                        </a:solidFill>
                        <a:effectLst/>
                        <a:highlight>
                          <a:srgbClr val="ED7D31"/>
                        </a:highlight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473551"/>
                  </a:ext>
                </a:extLst>
              </a:tr>
              <a:tr h="857250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800" b="1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 pitchFamily="2" charset="0"/>
                        </a:rPr>
                        <a:t>May 22nd, 2024</a:t>
                      </a:r>
                      <a:endParaRPr lang="en-US">
                        <a:effectLst/>
                        <a:highlight>
                          <a:srgbClr val="CCD2D8"/>
                        </a:highlight>
                      </a:endParaRPr>
                    </a:p>
                    <a:p>
                      <a:pPr algn="ctr" fontAlgn="base"/>
                      <a:r>
                        <a:rPr lang="en-US" sz="2800" b="1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 pitchFamily="2" charset="0"/>
                        </a:rPr>
                        <a:t> May 23rd, 2024</a:t>
                      </a:r>
                      <a:endParaRPr lang="en-US">
                        <a:effectLst/>
                        <a:highlight>
                          <a:srgbClr val="CCD2D8"/>
                        </a:highlight>
                      </a:endParaRPr>
                    </a:p>
                  </a:txBody>
                  <a:tcPr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2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800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 pitchFamily="2" charset="0"/>
                        </a:rPr>
                        <a:t>ILPQC Face-to-Face</a:t>
                      </a:r>
                      <a:endParaRPr lang="en-US">
                        <a:effectLst/>
                        <a:highlight>
                          <a:srgbClr val="CCD2D8"/>
                        </a:highlight>
                      </a:endParaRPr>
                    </a:p>
                    <a:p>
                      <a:pPr algn="ctr" fontAlgn="base"/>
                      <a:r>
                        <a:rPr lang="en-US" sz="2800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 pitchFamily="2" charset="0"/>
                        </a:rPr>
                        <a:t>Springfield, IL</a:t>
                      </a:r>
                      <a:endParaRPr lang="en-US">
                        <a:effectLst/>
                        <a:highlight>
                          <a:srgbClr val="CCD2D8"/>
                        </a:highlight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2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506402"/>
                  </a:ext>
                </a:extLst>
              </a:tr>
              <a:tr h="857250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800" b="1">
                          <a:solidFill>
                            <a:srgbClr val="171717"/>
                          </a:solidFill>
                          <a:effectLst/>
                          <a:highlight>
                            <a:srgbClr val="E7EAED"/>
                          </a:highlight>
                          <a:latin typeface="DM Sans" pitchFamily="2" charset="0"/>
                        </a:rPr>
                        <a:t>June 17th, 2024</a:t>
                      </a:r>
                      <a:endParaRPr lang="en-US">
                        <a:effectLst/>
                        <a:highlight>
                          <a:srgbClr val="E7EAED"/>
                        </a:highlight>
                      </a:endParaRPr>
                    </a:p>
                  </a:txBody>
                  <a:tcPr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A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800">
                          <a:solidFill>
                            <a:srgbClr val="171717"/>
                          </a:solidFill>
                          <a:effectLst/>
                          <a:highlight>
                            <a:srgbClr val="E7EAED"/>
                          </a:highlight>
                          <a:latin typeface="DM Sans" pitchFamily="2" charset="0"/>
                        </a:rPr>
                        <a:t>Equitable and Inclusive Unit Policies</a:t>
                      </a:r>
                      <a:endParaRPr lang="en-US">
                        <a:effectLst/>
                        <a:highlight>
                          <a:srgbClr val="E7EAED"/>
                        </a:highlight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A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4792620"/>
                  </a:ext>
                </a:extLst>
              </a:tr>
              <a:tr h="857250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800" b="1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 pitchFamily="2" charset="0"/>
                        </a:rPr>
                        <a:t>July 15th, 2024</a:t>
                      </a:r>
                      <a:endParaRPr lang="en-US">
                        <a:effectLst/>
                        <a:highlight>
                          <a:srgbClr val="CCD2D8"/>
                        </a:highlight>
                      </a:endParaRPr>
                    </a:p>
                  </a:txBody>
                  <a:tcPr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2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800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 pitchFamily="2" charset="0"/>
                        </a:rPr>
                        <a:t>Using Qualified Interpreters and Providing Information in Multiple Languages</a:t>
                      </a:r>
                      <a:endParaRPr lang="en-US">
                        <a:effectLst/>
                        <a:highlight>
                          <a:srgbClr val="CCD2D8"/>
                        </a:highlight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2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70796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763465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4" name="Google Shape;12724;p119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900"/>
              <a:buNone/>
            </a:pPr>
            <a:fld id="{00000000-1234-1234-1234-123412341234}" type="slidenum">
              <a:rPr lang="en-US" dirty="0"/>
              <a:t>59</a:t>
            </a:fld>
            <a:endParaRPr/>
          </a:p>
        </p:txBody>
      </p:sp>
      <p:pic>
        <p:nvPicPr>
          <p:cNvPr id="12726" name="Google Shape;12726;p119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5438" y="0"/>
            <a:ext cx="6173327" cy="639719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727" name="Google Shape;12727;p1192" descr="A text on a black background&#10;&#10;Description automatically generated"/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2574" y="2198002"/>
            <a:ext cx="6023996" cy="4201655"/>
          </a:xfrm>
          <a:prstGeom prst="rect">
            <a:avLst/>
          </a:prstGeom>
          <a:noFill/>
          <a:ln>
            <a:noFill/>
          </a:ln>
        </p:spPr>
      </p:pic>
      <p:sp>
        <p:nvSpPr>
          <p:cNvPr id="12728" name="Google Shape;12728;p1192"/>
          <p:cNvSpPr/>
          <p:nvPr/>
        </p:nvSpPr>
        <p:spPr>
          <a:xfrm>
            <a:off x="6789513" y="-90"/>
            <a:ext cx="5391508" cy="1437735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729" name="Google Shape;12729;p1192"/>
          <p:cNvSpPr txBox="1"/>
          <p:nvPr/>
        </p:nvSpPr>
        <p:spPr>
          <a:xfrm>
            <a:off x="7506329" y="574195"/>
            <a:ext cx="3245149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900" b="1" i="0" u="none" strike="noStrike" cap="none">
                <a:solidFill>
                  <a:srgbClr val="083C92"/>
                </a:solidFill>
                <a:latin typeface="DM Sans"/>
                <a:ea typeface="Arial"/>
                <a:cs typeface="Arial"/>
                <a:sym typeface="Arial"/>
              </a:rPr>
              <a:t>ILPQC </a:t>
            </a:r>
            <a:endParaRPr lang="en-US" sz="3900" b="0" i="0" u="none" strike="noStrike" cap="none">
              <a:solidFill>
                <a:srgbClr val="083C92"/>
              </a:solidFill>
              <a:latin typeface="DM Sans"/>
              <a:ea typeface="Arial"/>
              <a:cs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900" b="1" i="0" u="none" strike="noStrike" cap="none">
                <a:solidFill>
                  <a:srgbClr val="083C92"/>
                </a:solidFill>
                <a:latin typeface="DM Sans"/>
                <a:ea typeface="Arial"/>
                <a:cs typeface="Arial"/>
                <a:sym typeface="Arial"/>
              </a:rPr>
              <a:t>2024 Events</a:t>
            </a:r>
            <a:endParaRPr sz="3900" b="0" i="0" u="none" strike="noStrike" cap="none">
              <a:solidFill>
                <a:srgbClr val="083C92"/>
              </a:solidFill>
              <a:latin typeface="DM Sans"/>
              <a:ea typeface="Arial"/>
              <a:cs typeface="Arial"/>
              <a:sym typeface="Arial"/>
            </a:endParaRPr>
          </a:p>
        </p:txBody>
      </p:sp>
      <p:pic>
        <p:nvPicPr>
          <p:cNvPr id="12730" name="Google Shape;12730;p1192" descr="Balloons outline"/>
          <p:cNvPicPr preferRelativeResize="0"/>
          <p:nvPr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7064" y="139460"/>
            <a:ext cx="914400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731" name="Google Shape;12731;p1192" descr="Dance outline"/>
          <p:cNvPicPr preferRelativeResize="0"/>
          <p:nvPr/>
        </p:nvPicPr>
        <p:blipFill rotWithShape="1"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70234" y="1289649"/>
            <a:ext cx="914400" cy="9144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80BDAA27-2B2B-7C1B-EFFA-E96DF2430B73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786481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279978-6647-EDE0-87A0-C3A213094B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>
                <a:latin typeface="DM Sans"/>
                <a:ea typeface="Lato Medium"/>
                <a:cs typeface="Prompt Bold"/>
              </a:rPr>
              <a:t>2024 Face-to-Face Meeting</a:t>
            </a:r>
            <a:endParaRPr lang="en-US" b="0">
              <a:latin typeface="DM Sans"/>
              <a:cs typeface="Prompt Bold"/>
            </a:endParaRPr>
          </a:p>
        </p:txBody>
      </p:sp>
    </p:spTree>
    <p:extLst>
      <p:ext uri="{BB962C8B-B14F-4D97-AF65-F5344CB8AC3E}">
        <p14:creationId xmlns:p14="http://schemas.microsoft.com/office/powerpoint/2010/main" val="35589601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5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336674" y="1550229"/>
            <a:ext cx="3027790" cy="1416510"/>
          </a:xfrm>
          <a:custGeom>
            <a:avLst/>
            <a:gdLst/>
            <a:ahLst/>
            <a:cxnLst/>
            <a:rect l="l" t="t" r="r" b="b"/>
            <a:pathLst>
              <a:path w="4541685" h="2124765">
                <a:moveTo>
                  <a:pt x="0" y="0"/>
                </a:moveTo>
                <a:lnTo>
                  <a:pt x="4541685" y="0"/>
                </a:lnTo>
                <a:lnTo>
                  <a:pt x="4541685" y="2124765"/>
                </a:lnTo>
                <a:lnTo>
                  <a:pt x="0" y="2124765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" name="Group 3"/>
          <p:cNvGrpSpPr/>
          <p:nvPr/>
        </p:nvGrpSpPr>
        <p:grpSpPr>
          <a:xfrm>
            <a:off x="238317" y="3188989"/>
            <a:ext cx="5883121" cy="2700867"/>
            <a:chOff x="0" y="0"/>
            <a:chExt cx="2324196" cy="1067009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2324196" cy="1067009"/>
            </a:xfrm>
            <a:custGeom>
              <a:avLst/>
              <a:gdLst/>
              <a:ahLst/>
              <a:cxnLst/>
              <a:rect l="l" t="t" r="r" b="b"/>
              <a:pathLst>
                <a:path w="2324196" h="1067009">
                  <a:moveTo>
                    <a:pt x="44742" y="0"/>
                  </a:moveTo>
                  <a:lnTo>
                    <a:pt x="2279454" y="0"/>
                  </a:lnTo>
                  <a:cubicBezTo>
                    <a:pt x="2304164" y="0"/>
                    <a:pt x="2324196" y="20032"/>
                    <a:pt x="2324196" y="44742"/>
                  </a:cubicBezTo>
                  <a:lnTo>
                    <a:pt x="2324196" y="1022267"/>
                  </a:lnTo>
                  <a:cubicBezTo>
                    <a:pt x="2324196" y="1046977"/>
                    <a:pt x="2304164" y="1067009"/>
                    <a:pt x="2279454" y="1067009"/>
                  </a:cubicBezTo>
                  <a:lnTo>
                    <a:pt x="44742" y="1067009"/>
                  </a:lnTo>
                  <a:cubicBezTo>
                    <a:pt x="20032" y="1067009"/>
                    <a:pt x="0" y="1046977"/>
                    <a:pt x="0" y="1022267"/>
                  </a:cubicBezTo>
                  <a:lnTo>
                    <a:pt x="0" y="44742"/>
                  </a:lnTo>
                  <a:cubicBezTo>
                    <a:pt x="0" y="20032"/>
                    <a:pt x="20032" y="0"/>
                    <a:pt x="44742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33350" cap="rnd">
              <a:solidFill>
                <a:srgbClr val="144B90"/>
              </a:solidFill>
              <a:prstDash val="solid"/>
              <a:rou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38100"/>
              <a:ext cx="2324196" cy="1105109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6" name="Freeform 6"/>
          <p:cNvSpPr/>
          <p:nvPr/>
        </p:nvSpPr>
        <p:spPr>
          <a:xfrm flipH="1">
            <a:off x="7363487" y="2964610"/>
            <a:ext cx="4572936" cy="2918512"/>
          </a:xfrm>
          <a:custGeom>
            <a:avLst/>
            <a:gdLst/>
            <a:ahLst/>
            <a:cxnLst/>
            <a:rect l="l" t="t" r="r" b="b"/>
            <a:pathLst>
              <a:path w="8153368" h="2975979">
                <a:moveTo>
                  <a:pt x="8153368" y="0"/>
                </a:moveTo>
                <a:lnTo>
                  <a:pt x="0" y="0"/>
                </a:lnTo>
                <a:lnTo>
                  <a:pt x="0" y="2975979"/>
                </a:lnTo>
                <a:lnTo>
                  <a:pt x="8153368" y="2975979"/>
                </a:lnTo>
                <a:lnTo>
                  <a:pt x="8153368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" name="TextBox 7"/>
          <p:cNvSpPr txBox="1"/>
          <p:nvPr/>
        </p:nvSpPr>
        <p:spPr>
          <a:xfrm>
            <a:off x="4372039" y="1760750"/>
            <a:ext cx="7955264" cy="110382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192"/>
              </a:lnSpc>
            </a:pPr>
            <a:r>
              <a:rPr lang="en-US" sz="4192" b="1" spc="318">
                <a:solidFill>
                  <a:srgbClr val="F3866A"/>
                </a:solidFill>
                <a:latin typeface="Prompt Bold"/>
              </a:rPr>
              <a:t>2024 OB &amp; Neonatal </a:t>
            </a:r>
          </a:p>
          <a:p>
            <a:pPr>
              <a:lnSpc>
                <a:spcPts val="4192"/>
              </a:lnSpc>
            </a:pPr>
            <a:r>
              <a:rPr lang="en-US" sz="4192" b="1" spc="318">
                <a:solidFill>
                  <a:srgbClr val="F3866A"/>
                </a:solidFill>
                <a:latin typeface="Prompt Bold"/>
              </a:rPr>
              <a:t>Face-to-Face Meetings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1494825" y="606272"/>
            <a:ext cx="9847430" cy="103874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092"/>
              </a:lnSpc>
            </a:pPr>
            <a:r>
              <a:rPr lang="en-US" sz="9868" spc="957">
                <a:solidFill>
                  <a:srgbClr val="144B90"/>
                </a:solidFill>
                <a:latin typeface="Staatliches"/>
              </a:rPr>
              <a:t>Register Now!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621792" y="6209752"/>
            <a:ext cx="11307852" cy="3483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918"/>
              </a:lnSpc>
            </a:pPr>
            <a:r>
              <a:rPr lang="en-US" sz="2050" i="1">
                <a:solidFill>
                  <a:srgbClr val="144B90"/>
                </a:solidFill>
                <a:latin typeface="Prompt Italics"/>
              </a:rPr>
              <a:t>Join us for two interactive days of collaborative learning with the IL Perinatal Quality Collaborative!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575189" y="3864626"/>
            <a:ext cx="2720421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>
                <a:solidFill>
                  <a:schemeClr val="accent6"/>
                </a:solidFill>
                <a:latin typeface="Cambria"/>
                <a:ea typeface="Cambria"/>
              </a:rPr>
              <a:t>MAY 22ND, 2024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555911" y="3539704"/>
            <a:ext cx="2108092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 b="1">
                <a:solidFill>
                  <a:srgbClr val="144B90"/>
                </a:solidFill>
                <a:latin typeface="Cambria"/>
                <a:ea typeface="Cambria"/>
              </a:rPr>
              <a:t>OB TEAMS: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555912" y="5174923"/>
            <a:ext cx="2449487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>
                <a:solidFill>
                  <a:schemeClr val="accent6"/>
                </a:solidFill>
                <a:latin typeface="Cambria"/>
                <a:ea typeface="Cambria"/>
              </a:rPr>
              <a:t>MAY 23RD, 2024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575189" y="4451023"/>
            <a:ext cx="3468303" cy="73206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99" b="1">
                <a:solidFill>
                  <a:srgbClr val="144B90"/>
                </a:solidFill>
                <a:latin typeface="Cambria"/>
                <a:ea typeface="Cambria"/>
              </a:rPr>
              <a:t>NEONATAL </a:t>
            </a:r>
          </a:p>
          <a:p>
            <a:pPr>
              <a:lnSpc>
                <a:spcPts val="2879"/>
              </a:lnSpc>
            </a:pPr>
            <a:r>
              <a:rPr lang="en-US" sz="2399" b="1">
                <a:solidFill>
                  <a:srgbClr val="144B90"/>
                </a:solidFill>
                <a:latin typeface="Cambria"/>
                <a:ea typeface="Cambria"/>
              </a:rPr>
              <a:t>TEAMS: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3257602" y="3824546"/>
            <a:ext cx="2701691" cy="156562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095"/>
              </a:lnSpc>
            </a:pPr>
            <a:r>
              <a:rPr lang="en-US" sz="2210">
                <a:solidFill>
                  <a:srgbClr val="6C94CD"/>
                </a:solidFill>
                <a:latin typeface="Cambria"/>
                <a:ea typeface="Cambria"/>
              </a:rPr>
              <a:t>at the</a:t>
            </a:r>
            <a:r>
              <a:rPr lang="en-US" sz="2210">
                <a:solidFill>
                  <a:srgbClr val="144B90"/>
                </a:solidFill>
                <a:latin typeface="Cambria"/>
                <a:ea typeface="Cambria"/>
              </a:rPr>
              <a:t> President Abraham Lincoln Doubletree Hotel </a:t>
            </a:r>
          </a:p>
          <a:p>
            <a:pPr>
              <a:lnSpc>
                <a:spcPts val="3095"/>
              </a:lnSpc>
            </a:pPr>
            <a:r>
              <a:rPr lang="en-US" sz="2210">
                <a:solidFill>
                  <a:srgbClr val="6C94CD"/>
                </a:solidFill>
                <a:latin typeface="Cambria"/>
                <a:ea typeface="Cambria"/>
              </a:rPr>
              <a:t>in</a:t>
            </a:r>
            <a:r>
              <a:rPr lang="en-US" sz="2210">
                <a:solidFill>
                  <a:srgbClr val="144B90"/>
                </a:solidFill>
                <a:latin typeface="Cambria"/>
                <a:ea typeface="Cambria"/>
              </a:rPr>
              <a:t> Springfield, IL 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7582015" y="3539318"/>
            <a:ext cx="3882780" cy="186781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667"/>
              </a:lnSpc>
            </a:pPr>
            <a:r>
              <a:rPr lang="en-US" sz="2600" b="1">
                <a:solidFill>
                  <a:srgbClr val="144B90"/>
                </a:solidFill>
                <a:latin typeface="Prompt"/>
              </a:rPr>
              <a:t>Calling ALL Perinatal Leaders, Providers, Nurses, Advocates, &amp; Friends!</a:t>
            </a:r>
            <a:endParaRPr lang="en-US" sz="2300" b="1">
              <a:solidFill>
                <a:srgbClr val="144B90"/>
              </a:solidFill>
              <a:latin typeface="Prompt"/>
              <a:cs typeface="Prompt"/>
            </a:endParaRPr>
          </a:p>
        </p:txBody>
      </p:sp>
      <p:pic>
        <p:nvPicPr>
          <p:cNvPr id="17" name="Picture 16" descr="A qr code with text&#10;&#10;Description automatically generated">
            <a:extLst>
              <a:ext uri="{FF2B5EF4-FFF2-40B4-BE49-F238E27FC236}">
                <a16:creationId xmlns:a16="http://schemas.microsoft.com/office/drawing/2014/main" id="{70877188-1535-93B3-206C-A6A81F0EF24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1013" y="3372504"/>
            <a:ext cx="1700491" cy="2107036"/>
          </a:xfrm>
          <a:prstGeom prst="rect">
            <a:avLst/>
          </a:prstGeom>
        </p:spPr>
      </p:pic>
      <p:pic>
        <p:nvPicPr>
          <p:cNvPr id="18" name="Graphic 17" descr="Shooting star outline">
            <a:extLst>
              <a:ext uri="{FF2B5EF4-FFF2-40B4-BE49-F238E27FC236}">
                <a16:creationId xmlns:a16="http://schemas.microsoft.com/office/drawing/2014/main" id="{44BA78AF-4E8C-32C5-BE17-FB6D70CB732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511144" y="-57773"/>
            <a:ext cx="2265871" cy="2265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8644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Floating balloons">
            <a:extLst>
              <a:ext uri="{FF2B5EF4-FFF2-40B4-BE49-F238E27FC236}">
                <a16:creationId xmlns:a16="http://schemas.microsoft.com/office/drawing/2014/main" id="{6C314BAD-A3A0-E5B5-6348-6122A514517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07" y="769189"/>
            <a:ext cx="10363424" cy="6096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99BF84C-5A7B-BCAD-59FC-FD84F5A84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67" y="474078"/>
            <a:ext cx="5245894" cy="80168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800">
                <a:ea typeface="Lato Medium"/>
                <a:cs typeface="Lato Medium"/>
              </a:rPr>
              <a:t>We have an exciting opportunity!</a:t>
            </a:r>
            <a:br>
              <a:rPr lang="en-US" sz="2800">
                <a:ea typeface="Lato Medium"/>
                <a:cs typeface="Lato Medium"/>
              </a:rPr>
            </a:br>
            <a:br>
              <a:rPr lang="en-US" sz="2800">
                <a:ea typeface="Lato Medium"/>
                <a:cs typeface="Lato Medium"/>
              </a:rPr>
            </a:br>
            <a:r>
              <a:rPr lang="en-US" sz="1900">
                <a:ea typeface="Lato Medium"/>
                <a:cs typeface="Calibri"/>
              </a:rPr>
              <a:t>Please email your Perinatal Network Administrator or email </a:t>
            </a:r>
            <a:r>
              <a:rPr lang="en-US" sz="1900">
                <a:solidFill>
                  <a:srgbClr val="0070C0"/>
                </a:solidFill>
                <a:ea typeface="Lato Medium"/>
                <a:cs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ilpqc.org</a:t>
            </a:r>
            <a:r>
              <a:rPr lang="en-US" sz="1900">
                <a:ea typeface="Lato Medium"/>
                <a:cs typeface="Calibri"/>
              </a:rPr>
              <a:t> if you are interested in this opportunity!</a:t>
            </a:r>
            <a:endParaRPr lang="en-US" sz="1900">
              <a:ea typeface="Lato Medium"/>
            </a:endParaRPr>
          </a:p>
        </p:txBody>
      </p:sp>
      <p:pic>
        <p:nvPicPr>
          <p:cNvPr id="6" name="Content Placeholder 5" descr="A white and blue card with text&#10;&#10;Description automatically generated">
            <a:extLst>
              <a:ext uri="{FF2B5EF4-FFF2-40B4-BE49-F238E27FC236}">
                <a16:creationId xmlns:a16="http://schemas.microsoft.com/office/drawing/2014/main" id="{BFFBEAB8-D324-EB46-54BA-98F7A9CA91F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4373" y="1154"/>
            <a:ext cx="6904232" cy="6880347"/>
          </a:xfr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81527DF-13D0-F9B5-66E6-A2DA331D1D4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4195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5D60D9-1153-A700-5802-2D8C26E7E0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9</a:t>
            </a:fld>
            <a:endParaRPr lang="en-US"/>
          </a:p>
        </p:txBody>
      </p:sp>
      <p:graphicFrame>
        <p:nvGraphicFramePr>
          <p:cNvPr id="15" name="Content Placeholder 14">
            <a:extLst>
              <a:ext uri="{FF2B5EF4-FFF2-40B4-BE49-F238E27FC236}">
                <a16:creationId xmlns:a16="http://schemas.microsoft.com/office/drawing/2014/main" id="{DC353392-F952-3BF9-D767-B01AFFD9D45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5219840"/>
              </p:ext>
            </p:extLst>
          </p:nvPr>
        </p:nvGraphicFramePr>
        <p:xfrm>
          <a:off x="2471" y="1293518"/>
          <a:ext cx="6379567" cy="55902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4298">
                  <a:extLst>
                    <a:ext uri="{9D8B030D-6E8A-4147-A177-3AD203B41FA5}">
                      <a16:colId xmlns:a16="http://schemas.microsoft.com/office/drawing/2014/main" val="683782182"/>
                    </a:ext>
                  </a:extLst>
                </a:gridCol>
                <a:gridCol w="4825269">
                  <a:extLst>
                    <a:ext uri="{9D8B030D-6E8A-4147-A177-3AD203B41FA5}">
                      <a16:colId xmlns:a16="http://schemas.microsoft.com/office/drawing/2014/main" val="4129381965"/>
                    </a:ext>
                  </a:extLst>
                </a:gridCol>
              </a:tblGrid>
              <a:tr h="509868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>
                          <a:effectLst/>
                        </a:rPr>
                        <a:t>Time </a:t>
                      </a:r>
                      <a:endParaRPr lang="en-US" sz="2800" b="1" i="0">
                        <a:solidFill>
                          <a:srgbClr val="365F91"/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>
                          <a:effectLst/>
                        </a:rPr>
                        <a:t>ILPQC 2024 Neonatal  Face-to-Face Meeting </a:t>
                      </a:r>
                      <a:endParaRPr lang="en-US" sz="2800" b="0" i="0">
                        <a:solidFill>
                          <a:srgbClr val="365F91"/>
                        </a:solidFill>
                        <a:effectLst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9589559"/>
                  </a:ext>
                </a:extLst>
              </a:tr>
              <a:tr h="657146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9:00-9:15am </a:t>
                      </a:r>
                      <a:endParaRPr lang="en-US" sz="1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Welcome and Overview of Day  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500" b="0" i="0" u="none" strike="noStrike" baseline="0" noProof="0">
                          <a:solidFill>
                            <a:srgbClr val="F58366"/>
                          </a:solidFill>
                          <a:effectLst/>
                          <a:latin typeface="Calibri"/>
                        </a:rPr>
                        <a:t>Leslie </a:t>
                      </a:r>
                      <a:r>
                        <a:rPr lang="en-US" sz="1500" b="0" i="0" u="none" strike="noStrike" baseline="0" noProof="0" err="1">
                          <a:solidFill>
                            <a:srgbClr val="F58366"/>
                          </a:solidFill>
                          <a:effectLst/>
                          <a:latin typeface="Calibri"/>
                        </a:rPr>
                        <a:t>Caldarelli</a:t>
                      </a:r>
                      <a:r>
                        <a:rPr lang="en-US" sz="1500" b="0" i="0" u="none" strike="noStrike" baseline="0" noProof="0">
                          <a:solidFill>
                            <a:srgbClr val="F58366"/>
                          </a:solidFill>
                          <a:effectLst/>
                          <a:latin typeface="Calibri"/>
                        </a:rPr>
                        <a:t>, MD and Justin </a:t>
                      </a:r>
                      <a:r>
                        <a:rPr lang="en-US" sz="1500" b="0" i="0" u="none" strike="noStrike" baseline="0" noProof="0" err="1">
                          <a:solidFill>
                            <a:srgbClr val="F58366"/>
                          </a:solidFill>
                          <a:effectLst/>
                          <a:latin typeface="Calibri"/>
                        </a:rPr>
                        <a:t>Josephsen</a:t>
                      </a:r>
                      <a:r>
                        <a:rPr lang="en-US" sz="1500" b="0" i="0" u="none" strike="noStrike" baseline="0" noProof="0">
                          <a:solidFill>
                            <a:srgbClr val="F58366"/>
                          </a:solidFill>
                          <a:effectLst/>
                          <a:latin typeface="Calibri"/>
                        </a:rPr>
                        <a:t>, M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9843415"/>
                  </a:ext>
                </a:extLst>
              </a:tr>
              <a:tr h="657146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9:15-9:45am </a:t>
                      </a:r>
                      <a:endParaRPr lang="en-US" sz="1500" b="1" i="0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500" b="1" i="0" u="none" strike="noStrike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</a:rPr>
                        <a:t>We’ve Launched! Getting our “Booties” to Work with ESSI</a:t>
                      </a:r>
                      <a:endParaRPr lang="en-US"/>
                    </a:p>
                    <a:p>
                      <a:pPr lvl="0" algn="l">
                        <a:buNone/>
                      </a:pPr>
                      <a:r>
                        <a:rPr lang="en-US" sz="1500" b="0" i="0" u="none" strike="noStrike" noProof="0">
                          <a:solidFill>
                            <a:srgbClr val="F58366"/>
                          </a:solidFill>
                          <a:effectLst/>
                          <a:latin typeface="Calibri"/>
                        </a:rPr>
                        <a:t>Leslie </a:t>
                      </a:r>
                      <a:r>
                        <a:rPr lang="en-US" sz="1500" b="0" i="0" u="none" strike="noStrike" noProof="0" err="1">
                          <a:solidFill>
                            <a:srgbClr val="F58366"/>
                          </a:solidFill>
                          <a:effectLst/>
                          <a:latin typeface="Calibri"/>
                        </a:rPr>
                        <a:t>Caldarelli</a:t>
                      </a:r>
                      <a:r>
                        <a:rPr lang="en-US" sz="1500" b="0" i="0" u="none" strike="noStrike" noProof="0">
                          <a:solidFill>
                            <a:srgbClr val="F58366"/>
                          </a:solidFill>
                          <a:effectLst/>
                          <a:latin typeface="Calibri"/>
                        </a:rPr>
                        <a:t>, MD and Justin </a:t>
                      </a:r>
                      <a:r>
                        <a:rPr lang="en-US" sz="1500" b="0" i="0" u="none" strike="noStrike" noProof="0" err="1">
                          <a:solidFill>
                            <a:srgbClr val="F58366"/>
                          </a:solidFill>
                          <a:effectLst/>
                          <a:latin typeface="Calibri"/>
                        </a:rPr>
                        <a:t>Josephsen</a:t>
                      </a:r>
                      <a:r>
                        <a:rPr lang="en-US" sz="1500" b="0" i="0" u="none" strike="noStrike" noProof="0">
                          <a:solidFill>
                            <a:srgbClr val="F58366"/>
                          </a:solidFill>
                          <a:effectLst/>
                          <a:latin typeface="Calibri"/>
                        </a:rPr>
                        <a:t>, MD</a:t>
                      </a:r>
                      <a:endParaRPr lang="en-US" b="0" i="0" u="none" strike="noStrike" noProof="0">
                        <a:solidFill>
                          <a:srgbClr val="F58366"/>
                        </a:solidFill>
                        <a:latin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5562079"/>
                  </a:ext>
                </a:extLst>
              </a:tr>
              <a:tr h="742951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9:45-10:40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500" b="1" i="0" u="none" strike="noStrike" kern="1200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</a:rPr>
                        <a:t>Steps to Addressing Social Determinants of Health </a:t>
                      </a:r>
                      <a:endParaRPr lang="en-US"/>
                    </a:p>
                    <a:p>
                      <a:pPr lvl="0" algn="l">
                        <a:buNone/>
                      </a:pPr>
                      <a:r>
                        <a:rPr lang="en-US" sz="1500" b="1" i="0" u="none" strike="noStrike" kern="1200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</a:rPr>
                        <a:t>in the Newborn Setting</a:t>
                      </a:r>
                      <a:endParaRPr lang="en-US"/>
                    </a:p>
                    <a:p>
                      <a:pPr lvl="0" algn="l">
                        <a:buNone/>
                      </a:pPr>
                      <a:r>
                        <a:rPr lang="en-US" sz="1500" b="0" i="0" u="none" strike="noStrike" kern="1200" baseline="0" noProof="0">
                          <a:solidFill>
                            <a:srgbClr val="F58366"/>
                          </a:solidFill>
                          <a:latin typeface="Calibri"/>
                        </a:rPr>
                        <a:t>Meg Parker, MD, MPH</a:t>
                      </a:r>
                      <a:r>
                        <a:rPr lang="en-US" sz="1500" b="1" i="0" u="none" strike="noStrike" kern="1200" baseline="0" noProof="0">
                          <a:solidFill>
                            <a:srgbClr val="F58366"/>
                          </a:solidFill>
                          <a:latin typeface="Calibri"/>
                        </a:rPr>
                        <a:t> 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747297"/>
                  </a:ext>
                </a:extLst>
              </a:tr>
              <a:tr h="305921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10:40-10:55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Break</a:t>
                      </a:r>
                      <a:endParaRPr lang="en-US" sz="1500" b="1" i="0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3891167"/>
                  </a:ext>
                </a:extLst>
              </a:tr>
              <a:tr h="961466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10:55 –11:25am </a:t>
                      </a:r>
                      <a:endParaRPr lang="en-US" sz="1500" b="1" i="0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500" b="1" i="0" u="none" strike="noStrike" kern="1200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moting Safe Sleep in Illinois Hospital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u="none" strike="noStrike" kern="1200" baseline="0" noProof="0" err="1">
                          <a:solidFill>
                            <a:srgbClr val="F58366"/>
                          </a:solidFill>
                        </a:rPr>
                        <a:t>Bryanne</a:t>
                      </a:r>
                      <a:r>
                        <a:rPr lang="en-US" sz="1500" b="0" i="0" u="none" strike="noStrike" kern="1200" baseline="0" noProof="0">
                          <a:solidFill>
                            <a:srgbClr val="F58366"/>
                          </a:solidFill>
                        </a:rPr>
                        <a:t> Colvin, MD</a:t>
                      </a:r>
                      <a:endParaRPr lang="en-US" sz="1500" b="0" i="0" u="none" strike="noStrike" kern="1200" baseline="0" noProof="0">
                        <a:solidFill>
                          <a:srgbClr val="F58366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500" b="0" i="0" u="none" strike="noStrike" kern="1200" baseline="0">
                          <a:solidFill>
                            <a:srgbClr val="F58366"/>
                          </a:solidFill>
                          <a:latin typeface="Calibri"/>
                          <a:ea typeface="+mn-ea"/>
                          <a:cs typeface="+mn-cs"/>
                        </a:rPr>
                        <a:t>Christie Lawrence, DNP, RNC-NIC, APN/CN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u="none" strike="noStrike" kern="1200" baseline="0" noProof="0">
                          <a:solidFill>
                            <a:srgbClr val="F58366"/>
                          </a:solidFill>
                          <a:latin typeface="+mn-lt"/>
                          <a:ea typeface="+mn-ea"/>
                          <a:cs typeface="+mn-cs"/>
                        </a:rPr>
                        <a:t>Gina Lowell, MD, MP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5968319"/>
                  </a:ext>
                </a:extLst>
              </a:tr>
              <a:tr h="961466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11:55-12:55pm </a:t>
                      </a:r>
                      <a:endParaRPr lang="en-US" sz="1500" b="1" i="0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500" b="1" i="0" u="none" strike="noStrike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</a:rPr>
                        <a:t>Team Storyboard Session: </a:t>
                      </a:r>
                      <a:endParaRPr lang="en-US"/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500" b="1" i="0" u="none" strike="noStrike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</a:rPr>
                        <a:t>An Opportunity to Share and Learn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endParaRPr lang="en-US" sz="1500" b="1" i="0" u="none" strike="noStrike" baseline="0" noProof="0">
                        <a:solidFill>
                          <a:srgbClr val="1C498B"/>
                        </a:solidFill>
                        <a:effectLst/>
                        <a:latin typeface="Calibri"/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500" b="1" i="0" u="none" strike="noStrike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</a:rPr>
                        <a:t>Networking Lunch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0523175"/>
                  </a:ext>
                </a:extLst>
              </a:tr>
              <a:tr h="657146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12:55-1:40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500" b="1" i="0" u="none" strike="noStrike" kern="1200" baseline="0" noProof="0">
                          <a:solidFill>
                            <a:srgbClr val="7030A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Breakout Session #1: </a:t>
                      </a:r>
                    </a:p>
                    <a:p>
                      <a:pPr marL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500" b="1" i="0" u="none" strike="noStrike" kern="1200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haring Strategies for Effective Equity Education</a:t>
                      </a:r>
                      <a:endParaRPr lang="en-US" sz="1500" b="1" i="0" u="none" strike="noStrike" baseline="0" noProof="0">
                        <a:solidFill>
                          <a:srgbClr val="1C498B"/>
                        </a:solidFill>
                        <a:effectLst/>
                        <a:latin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4571024"/>
                  </a:ext>
                </a:extLst>
              </a:tr>
            </a:tbl>
          </a:graphicData>
        </a:graphic>
      </p:graphicFrame>
      <p:graphicFrame>
        <p:nvGraphicFramePr>
          <p:cNvPr id="17" name="Content Placeholder 7">
            <a:extLst>
              <a:ext uri="{FF2B5EF4-FFF2-40B4-BE49-F238E27FC236}">
                <a16:creationId xmlns:a16="http://schemas.microsoft.com/office/drawing/2014/main" id="{319315ED-FE26-46EC-8BD9-E533D7284CF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7492341"/>
              </p:ext>
            </p:extLst>
          </p:nvPr>
        </p:nvGraphicFramePr>
        <p:xfrm>
          <a:off x="6499011" y="1293518"/>
          <a:ext cx="5692989" cy="55902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1400">
                  <a:extLst>
                    <a:ext uri="{9D8B030D-6E8A-4147-A177-3AD203B41FA5}">
                      <a16:colId xmlns:a16="http://schemas.microsoft.com/office/drawing/2014/main" val="2891568701"/>
                    </a:ext>
                  </a:extLst>
                </a:gridCol>
                <a:gridCol w="4421589">
                  <a:extLst>
                    <a:ext uri="{9D8B030D-6E8A-4147-A177-3AD203B41FA5}">
                      <a16:colId xmlns:a16="http://schemas.microsoft.com/office/drawing/2014/main" val="2893197933"/>
                    </a:ext>
                  </a:extLst>
                </a:gridCol>
              </a:tblGrid>
              <a:tr h="478063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>
                          <a:effectLst/>
                        </a:rPr>
                        <a:t>Time </a:t>
                      </a:r>
                      <a:endParaRPr lang="en-US" sz="2800" b="1" i="0">
                        <a:solidFill>
                          <a:srgbClr val="365F91"/>
                        </a:solidFill>
                        <a:effectLst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>
                          <a:effectLst/>
                        </a:rPr>
                        <a:t>ILPQC 2024 Neonatal  Face-to-Face Meeting </a:t>
                      </a:r>
                      <a:endParaRPr lang="en-US" sz="2800" b="0" i="0">
                        <a:solidFill>
                          <a:srgbClr val="365F91"/>
                        </a:solidFill>
                        <a:effectLst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208241"/>
                  </a:ext>
                </a:extLst>
              </a:tr>
              <a:tr h="797446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1:40-1:50p</a:t>
                      </a:r>
                    </a:p>
                  </a:txBody>
                  <a:tcPr>
                    <a:solidFill>
                      <a:srgbClr val="E7E9EE"/>
                    </a:solidFill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500" b="1" i="0" u="none" strike="noStrike" kern="1200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</a:rPr>
                        <a:t>Transition to Breakout Sessions </a:t>
                      </a:r>
                      <a:endParaRPr lang="en-US" sz="1500" b="1" i="0" u="none" strike="noStrike" kern="1200" baseline="0" noProof="0">
                        <a:solidFill>
                          <a:srgbClr val="1C498B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lvl="0" algn="l">
                        <a:buNone/>
                      </a:pPr>
                      <a:endParaRPr lang="en-US" sz="1500" b="1" kern="1200">
                        <a:solidFill>
                          <a:schemeClr val="accen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E7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2989986"/>
                  </a:ext>
                </a:extLst>
              </a:tr>
              <a:tr h="111073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1:50-2:35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500" b="1" i="0" u="none" strike="noStrike" kern="1200" baseline="0" noProof="0">
                          <a:solidFill>
                            <a:srgbClr val="7030A0"/>
                          </a:solidFill>
                          <a:effectLst/>
                          <a:latin typeface="Calibri"/>
                        </a:rPr>
                        <a:t>Breakout Session #2: 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500" b="1" i="0" u="none" strike="noStrike" kern="1200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</a:rPr>
                        <a:t>Safe Sleep: Beyond the ABCs</a:t>
                      </a:r>
                    </a:p>
                    <a:p>
                      <a:pPr lvl="0" algn="l">
                        <a:buNone/>
                      </a:pPr>
                      <a:endParaRPr lang="en-US" sz="1500" b="1" kern="1200">
                        <a:solidFill>
                          <a:schemeClr val="accen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4026735"/>
                  </a:ext>
                </a:extLst>
              </a:tr>
              <a:tr h="925608">
                <a:tc>
                  <a:txBody>
                    <a:bodyPr/>
                    <a:lstStyle/>
                    <a:p>
                      <a:pPr fontAlgn="t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2:35-2:45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500" b="1" i="0" u="none" strike="noStrike" noProof="0">
                          <a:solidFill>
                            <a:srgbClr val="1C498B"/>
                          </a:solidFill>
                          <a:effectLst/>
                          <a:latin typeface="Calibri"/>
                        </a:rPr>
                        <a:t>Transition to Breakout Sessions </a:t>
                      </a:r>
                      <a:endParaRPr lang="en-US" sz="1500" b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7649981"/>
                  </a:ext>
                </a:extLst>
              </a:tr>
              <a:tr h="1395532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2:45-3:30p </a:t>
                      </a:r>
                      <a:endParaRPr lang="en-US" sz="1500" b="1" i="0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500" b="1" i="0" u="none" strike="noStrike" baseline="0" noProof="0">
                          <a:solidFill>
                            <a:srgbClr val="7030A0"/>
                          </a:solidFill>
                          <a:effectLst/>
                          <a:latin typeface="Calibri"/>
                        </a:rPr>
                        <a:t>Breakout Session #3: 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500" b="1" i="0" u="none" strike="noStrike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</a:rPr>
                        <a:t>Parent Partners and Respectful Care Breakfasts: Lessons Learned from Birth Equity Teams</a:t>
                      </a:r>
                    </a:p>
                    <a:p>
                      <a:pPr lvl="0" algn="l">
                        <a:buNone/>
                      </a:pPr>
                      <a:endParaRPr lang="en-US" sz="1500" b="1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0093263"/>
                  </a:ext>
                </a:extLst>
              </a:tr>
              <a:tr h="882888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3:00-3:45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500" b="1">
                          <a:solidFill>
                            <a:schemeClr val="accent1"/>
                          </a:solidFill>
                          <a:effectLst/>
                        </a:rPr>
                        <a:t>Wrap-up, Next steps for 2024</a:t>
                      </a:r>
                    </a:p>
                    <a:p>
                      <a:pPr lvl="0" algn="l">
                        <a:buNone/>
                      </a:pPr>
                      <a:r>
                        <a:rPr lang="en-US" sz="1500" b="0" i="0" u="none" strike="noStrike" noProof="0">
                          <a:solidFill>
                            <a:srgbClr val="F58366"/>
                          </a:solidFill>
                          <a:effectLst/>
                          <a:latin typeface="+mj-lt"/>
                        </a:rPr>
                        <a:t>Leslie </a:t>
                      </a:r>
                      <a:r>
                        <a:rPr lang="en-US" sz="1500" b="0" i="0" u="none" strike="noStrike" noProof="0" err="1">
                          <a:solidFill>
                            <a:srgbClr val="F58366"/>
                          </a:solidFill>
                          <a:effectLst/>
                          <a:latin typeface="+mj-lt"/>
                        </a:rPr>
                        <a:t>Caldarelli</a:t>
                      </a:r>
                      <a:r>
                        <a:rPr lang="en-US" sz="1500" b="0" i="0" u="none" strike="noStrike" noProof="0">
                          <a:solidFill>
                            <a:srgbClr val="F58366"/>
                          </a:solidFill>
                          <a:effectLst/>
                          <a:latin typeface="+mj-lt"/>
                        </a:rPr>
                        <a:t>, MD and Justin </a:t>
                      </a:r>
                      <a:r>
                        <a:rPr lang="en-US" sz="1500" b="0" i="0" u="none" strike="noStrike" noProof="0" err="1">
                          <a:solidFill>
                            <a:srgbClr val="F58366"/>
                          </a:solidFill>
                          <a:effectLst/>
                          <a:latin typeface="+mj-lt"/>
                        </a:rPr>
                        <a:t>Josephsen</a:t>
                      </a:r>
                      <a:r>
                        <a:rPr lang="en-US" sz="1500" b="0" i="0" u="none" strike="noStrike" noProof="0">
                          <a:solidFill>
                            <a:srgbClr val="F58366"/>
                          </a:solidFill>
                          <a:effectLst/>
                          <a:latin typeface="+mj-lt"/>
                        </a:rPr>
                        <a:t>, MD </a:t>
                      </a:r>
                      <a:endParaRPr lang="en-US" sz="1500" b="0" i="0" u="none" strike="noStrike" noProof="0">
                        <a:solidFill>
                          <a:srgbClr val="F58366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5826317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5A99F7A-DFB3-982C-88DF-E5DEA9784A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214" y="195741"/>
            <a:ext cx="4747404" cy="692960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pPr algn="ctr"/>
            <a:r>
              <a:rPr lang="en-US" sz="3500">
                <a:solidFill>
                  <a:schemeClr val="accent3"/>
                </a:solidFill>
                <a:ea typeface="Lato Medium"/>
                <a:cs typeface="Lato Medium"/>
              </a:rPr>
              <a:t>ILPQC F2F Agenda</a:t>
            </a:r>
            <a:endParaRPr lang="en-US" sz="350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82482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7</TotalTime>
  <Words>3176</Words>
  <Application>Microsoft Macintosh PowerPoint</Application>
  <PresentationFormat>Widescreen</PresentationFormat>
  <Paragraphs>423</Paragraphs>
  <Slides>59</Slides>
  <Notes>18</Notes>
  <HiddenSlides>0</HiddenSlides>
  <MMClips>1</MMClips>
  <ScaleCrop>false</ScaleCrop>
  <HeadingPairs>
    <vt:vector size="8" baseType="variant">
      <vt:variant>
        <vt:lpstr>Fonts Used</vt:lpstr>
      </vt:variant>
      <vt:variant>
        <vt:i4>3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9</vt:i4>
      </vt:variant>
    </vt:vector>
  </HeadingPairs>
  <TitlesOfParts>
    <vt:vector size="92" baseType="lpstr">
      <vt:lpstr>Aptos</vt:lpstr>
      <vt:lpstr>Aptos Display</vt:lpstr>
      <vt:lpstr>Arial</vt:lpstr>
      <vt:lpstr>ArialMT</vt:lpstr>
      <vt:lpstr>Barlow Bold</vt:lpstr>
      <vt:lpstr>Bierstadt Display</vt:lpstr>
      <vt:lpstr>Calibri</vt:lpstr>
      <vt:lpstr>Cambria</vt:lpstr>
      <vt:lpstr>Canva Sans 2 Bold</vt:lpstr>
      <vt:lpstr>Canva Sans Bold</vt:lpstr>
      <vt:lpstr>Cavolini</vt:lpstr>
      <vt:lpstr>Courier New</vt:lpstr>
      <vt:lpstr>Courier New,monospace</vt:lpstr>
      <vt:lpstr>DM Sans</vt:lpstr>
      <vt:lpstr>Helvetica Neue Medium</vt:lpstr>
      <vt:lpstr>HK Grotesk</vt:lpstr>
      <vt:lpstr>HK Grotesk Bold</vt:lpstr>
      <vt:lpstr>Kollektif Bold</vt:lpstr>
      <vt:lpstr>Lato</vt:lpstr>
      <vt:lpstr>Lato Medium</vt:lpstr>
      <vt:lpstr>Open Sans</vt:lpstr>
      <vt:lpstr>Prompt</vt:lpstr>
      <vt:lpstr>Prompt Bold</vt:lpstr>
      <vt:lpstr>Prompt Italics</vt:lpstr>
      <vt:lpstr>Segoe UI</vt:lpstr>
      <vt:lpstr>Staatliches</vt:lpstr>
      <vt:lpstr>TAN Tangkiwood</vt:lpstr>
      <vt:lpstr>Times New Roman</vt:lpstr>
      <vt:lpstr>Verdana</vt:lpstr>
      <vt:lpstr>Wingdings</vt:lpstr>
      <vt:lpstr>office theme</vt:lpstr>
      <vt:lpstr>1_Office Theme</vt:lpstr>
      <vt:lpstr>think-cell Slide</vt:lpstr>
      <vt:lpstr>Equity and Safe Sleep for Infants Safe Sleep Environment Education and Implementation </vt:lpstr>
      <vt:lpstr>Welcome Corliss!  </vt:lpstr>
      <vt:lpstr>Overview</vt:lpstr>
      <vt:lpstr>ESSI ABP MOC Part IV </vt:lpstr>
      <vt:lpstr>ATTENDANCE POLL!</vt:lpstr>
      <vt:lpstr>2024 Face-to-Face Meeting</vt:lpstr>
      <vt:lpstr>PowerPoint Presentation</vt:lpstr>
      <vt:lpstr>We have an exciting opportunity!  Please email your Perinatal Network Administrator or email info@ilpqc.org if you are interested in this opportunity!</vt:lpstr>
      <vt:lpstr>ILPQC F2F Agenda</vt:lpstr>
      <vt:lpstr>PowerPoint Presentation</vt:lpstr>
      <vt:lpstr>Upcoming Face-to-Face 2024 Prep</vt:lpstr>
      <vt:lpstr>ESSI Launch Award Criteria</vt:lpstr>
      <vt:lpstr>ESSI Aims and Measures</vt:lpstr>
      <vt:lpstr>ESSI Initiative Aims</vt:lpstr>
      <vt:lpstr>PowerPoint Presentation</vt:lpstr>
      <vt:lpstr>Key Driver Diagram</vt:lpstr>
      <vt:lpstr>Safe Sleep Environment Education and Implementation</vt:lpstr>
      <vt:lpstr>SUID</vt:lpstr>
      <vt:lpstr>PowerPoint Presentation</vt:lpstr>
      <vt:lpstr>Sudden Unexpected Infant Death Case Registry</vt:lpstr>
      <vt:lpstr>PowerPoint Presentation</vt:lpstr>
      <vt:lpstr>PowerPoint Presentation</vt:lpstr>
      <vt:lpstr>ESSI Safe Sleep Education Plan – Get to Green</vt:lpstr>
      <vt:lpstr>Step 2: Disseminate Recommendations and Educate about Safe Sleep</vt:lpstr>
      <vt:lpstr>PowerPoint Presentation</vt:lpstr>
      <vt:lpstr>12 Steps from Cribs for Kid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tep 3: Endorse and model safe sleep practices and incorporate safe sleep education into orientation, annual competencies and ongoing education.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onoring Patient Stories</vt:lpstr>
      <vt:lpstr>PowerPoint Presentation</vt:lpstr>
      <vt:lpstr>Share in the chat!  Does your hospital use any creative ways to educate your providers, nurses and staff on Safe Sleep?</vt:lpstr>
      <vt:lpstr>PowerPoint Presentation</vt:lpstr>
      <vt:lpstr>Upcoming Opportunities of Interest to ESSI Teams</vt:lpstr>
      <vt:lpstr>ILPQC will be offering one seat to each ESSI hospital team to help build capacity to facilitate live discussions about equity and respectful care with your providers, nurses and staff.</vt:lpstr>
      <vt:lpstr>PowerPoint Presentation</vt:lpstr>
      <vt:lpstr>PowerPoint Presentation</vt:lpstr>
      <vt:lpstr>ESSI Safe Sleep Starter Pack</vt:lpstr>
      <vt:lpstr>Posters</vt:lpstr>
      <vt:lpstr>Handouts</vt:lpstr>
      <vt:lpstr>What is included:</vt:lpstr>
      <vt:lpstr>Diversity Science Dignity in Pregnancy &amp; Childbirth: Preventing Racial Bias in Perinatal Care</vt:lpstr>
      <vt:lpstr>PowerPoint Presentation</vt:lpstr>
      <vt:lpstr>Other ESSI Information</vt:lpstr>
      <vt:lpstr>Data Collection Timelines</vt:lpstr>
      <vt:lpstr> Two ESSI Data Forms</vt:lpstr>
      <vt:lpstr>Upcoming ESSI Call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ileen Fleming Suse</dc:creator>
  <cp:lastModifiedBy>Kiela Karina Moreno</cp:lastModifiedBy>
  <cp:revision>15</cp:revision>
  <dcterms:created xsi:type="dcterms:W3CDTF">2024-01-25T18:05:32Z</dcterms:created>
  <dcterms:modified xsi:type="dcterms:W3CDTF">2024-04-15T22:29:32Z</dcterms:modified>
</cp:coreProperties>
</file>